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ags/tag74.xml" ContentType="application/vnd.openxmlformats-officedocument.presentationml.tags+xml"/>
  <Override PartName="/ppt/slideLayouts/slideLayout101.xml" ContentType="application/vnd.openxmlformats-officedocument.presentationml.slideLayout+xml"/>
  <Override PartName="/ppt/theme/theme11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2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3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4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5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6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7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203.xml" ContentType="application/vnd.openxmlformats-officedocument.presentationml.slideLayout+xml"/>
  <Override PartName="/ppt/theme/theme18.xml" ContentType="application/vnd.openxmlformats-officedocument.them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heme/theme19.xml" ContentType="application/vnd.openxmlformats-officedocument.theme+xml"/>
  <Override PartName="/ppt/theme/theme20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  <p:sldMasterId id="2147484055" r:id="rId13"/>
    <p:sldMasterId id="2147484067" r:id="rId14"/>
    <p:sldMasterId id="2147484090" r:id="rId15"/>
    <p:sldMasterId id="2147484109" r:id="rId16"/>
    <p:sldMasterId id="2147484122" r:id="rId17"/>
    <p:sldMasterId id="2147484144" r:id="rId18"/>
    <p:sldMasterId id="2147484162" r:id="rId19"/>
  </p:sldMasterIdLst>
  <p:notesMasterIdLst>
    <p:notesMasterId r:id="rId36"/>
  </p:notesMasterIdLst>
  <p:handoutMasterIdLst>
    <p:handoutMasterId r:id="rId37"/>
  </p:handoutMasterIdLst>
  <p:sldIdLst>
    <p:sldId id="256" r:id="rId20"/>
    <p:sldId id="273" r:id="rId21"/>
    <p:sldId id="258" r:id="rId22"/>
    <p:sldId id="259" r:id="rId23"/>
    <p:sldId id="260" r:id="rId24"/>
    <p:sldId id="263" r:id="rId25"/>
    <p:sldId id="278" r:id="rId26"/>
    <p:sldId id="262" r:id="rId27"/>
    <p:sldId id="279" r:id="rId28"/>
    <p:sldId id="265" r:id="rId29"/>
    <p:sldId id="276" r:id="rId30"/>
    <p:sldId id="266" r:id="rId31"/>
    <p:sldId id="274" r:id="rId32"/>
    <p:sldId id="275" r:id="rId33"/>
    <p:sldId id="272" r:id="rId34"/>
    <p:sldId id="269" r:id="rId35"/>
  </p:sldIdLst>
  <p:sldSz cx="13442950" cy="7561263"/>
  <p:notesSz cx="6797675" cy="9926638"/>
  <p:custDataLst>
    <p:tags r:id="rId38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DECFF"/>
    <a:srgbClr val="00CCE2"/>
    <a:srgbClr val="00B1C4"/>
    <a:srgbClr val="FB3449"/>
    <a:srgbClr val="000000"/>
    <a:srgbClr val="CAC8C8"/>
    <a:srgbClr val="8547AD"/>
    <a:srgbClr val="33006F"/>
    <a:srgbClr val="0099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60" autoAdjust="0"/>
    <p:restoredTop sz="84404" autoAdjust="0"/>
  </p:normalViewPr>
  <p:slideViewPr>
    <p:cSldViewPr snapToGrid="0">
      <p:cViewPr varScale="1">
        <p:scale>
          <a:sx n="88" d="100"/>
          <a:sy n="88" d="100"/>
        </p:scale>
        <p:origin x="1308" y="7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Master" Target="slideMasters/slideMaster17.xml"/><Relationship Id="rId26" Type="http://schemas.openxmlformats.org/officeDocument/2006/relationships/slide" Target="slides/slide7.xml"/><Relationship Id="rId39" Type="http://schemas.openxmlformats.org/officeDocument/2006/relationships/commentAuthors" Target="commentAuthors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Master" Target="slideMasters/slideMaster16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tags" Target="tags/tag1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9.xml"/><Relationship Id="rId19" Type="http://schemas.openxmlformats.org/officeDocument/2006/relationships/slideMaster" Target="slideMasters/slideMaster18.xml"/><Relationship Id="rId31" Type="http://schemas.openxmlformats.org/officeDocument/2006/relationships/slide" Target="slides/slide12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% Cinemagoers</a:t>
            </a:r>
          </a:p>
        </c:rich>
      </c:tx>
      <c:layout>
        <c:manualLayout>
          <c:xMode val="edge"/>
          <c:yMode val="edge"/>
          <c:x val="0.4470824578123002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% Cinemagoe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87-4D8B-B2A5-840CAC6A8628}"/>
              </c:ext>
            </c:extLst>
          </c:dPt>
          <c:dPt>
            <c:idx val="1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87-4D8B-B2A5-840CAC6A8628}"/>
              </c:ext>
            </c:extLst>
          </c:dPt>
          <c:dLbls>
            <c:dLbl>
              <c:idx val="1"/>
              <c:layout>
                <c:manualLayout>
                  <c:x val="0"/>
                  <c:y val="2.584586179261187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D87-4D8B-B2A5-840CAC6A86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</c:f>
              <c:strCache>
                <c:ptCount val="2"/>
                <c:pt idx="0">
                  <c:v>Not used an SVOD service in the last month </c:v>
                </c:pt>
                <c:pt idx="1">
                  <c:v>Used an SVOD service in the last month </c:v>
                </c:pt>
              </c:strCache>
            </c:strRef>
          </c:cat>
          <c:val>
            <c:numRef>
              <c:f>Sheet1!$B$3:$B$4</c:f>
              <c:numCache>
                <c:formatCode>0%</c:formatCode>
                <c:ptCount val="2"/>
                <c:pt idx="0">
                  <c:v>0.85</c:v>
                </c:pt>
                <c:pt idx="1">
                  <c:v>0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87-4D8B-B2A5-840CAC6A8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20374312"/>
        <c:axId val="420375952"/>
      </c:barChart>
      <c:catAx>
        <c:axId val="420374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5952"/>
        <c:crosses val="autoZero"/>
        <c:auto val="1"/>
        <c:lblAlgn val="ctr"/>
        <c:lblOffset val="100"/>
        <c:noMultiLvlLbl val="0"/>
      </c:catAx>
      <c:valAx>
        <c:axId val="420375952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>
                <a:lumMod val="60000"/>
                <a:lumOff val="4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4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% Cinemagoers</a:t>
            </a:r>
          </a:p>
        </c:rich>
      </c:tx>
      <c:layout>
        <c:manualLayout>
          <c:xMode val="edge"/>
          <c:yMode val="edge"/>
          <c:x val="0.44998620286883101"/>
          <c:y val="2.63961623721099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8984620133133044E-2"/>
          <c:y val="0.13462042809776065"/>
          <c:w val="0.94950472460077517"/>
          <c:h val="0.812635240180514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8</c:f>
              <c:strCache>
                <c:ptCount val="1"/>
                <c:pt idx="0">
                  <c:v>% Cinemagoer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8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Sheet1!$B$9:$B$18</c:f>
              <c:numCache>
                <c:formatCode>0%</c:formatCode>
                <c:ptCount val="10"/>
                <c:pt idx="0">
                  <c:v>0.81</c:v>
                </c:pt>
                <c:pt idx="1">
                  <c:v>0.81</c:v>
                </c:pt>
                <c:pt idx="2">
                  <c:v>0.85</c:v>
                </c:pt>
                <c:pt idx="3">
                  <c:v>0.85</c:v>
                </c:pt>
                <c:pt idx="4">
                  <c:v>0.87</c:v>
                </c:pt>
                <c:pt idx="5">
                  <c:v>0.89</c:v>
                </c:pt>
                <c:pt idx="6">
                  <c:v>0.91</c:v>
                </c:pt>
                <c:pt idx="7">
                  <c:v>0.91</c:v>
                </c:pt>
                <c:pt idx="8">
                  <c:v>0.9</c:v>
                </c:pt>
                <c:pt idx="9">
                  <c:v>0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4A-4BA5-B584-9D19781B7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20373000"/>
        <c:axId val="420375624"/>
      </c:barChart>
      <c:catAx>
        <c:axId val="4203730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5624"/>
        <c:crosses val="autoZero"/>
        <c:auto val="1"/>
        <c:lblAlgn val="ctr"/>
        <c:lblOffset val="100"/>
        <c:noMultiLvlLbl val="0"/>
      </c:catAx>
      <c:valAx>
        <c:axId val="420375624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>
                <a:lumMod val="60000"/>
                <a:lumOff val="4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3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GB" sz="1400" b="1" dirty="0"/>
              <a:t>16-34 adults want to watch the latest films as soon as possible. They</a:t>
            </a:r>
            <a:r>
              <a:rPr lang="en-GB" sz="1400" b="1" baseline="0" dirty="0"/>
              <a:t> account for…</a:t>
            </a:r>
            <a:endParaRPr lang="en-GB" sz="1400" b="1" dirty="0"/>
          </a:p>
        </c:rich>
      </c:tx>
      <c:layout>
        <c:manualLayout>
          <c:xMode val="edge"/>
          <c:yMode val="edge"/>
          <c:x val="0.20568248704763792"/>
          <c:y val="1.7820856497091739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7042556126902297E-2"/>
          <c:y val="9.0306441525953726E-2"/>
          <c:w val="0.92060139656031847"/>
          <c:h val="0.787937314385716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he Opening Week Audience 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20A-4245-BAF4-75DF9571B81D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20A-4245-BAF4-75DF9571B81D}"/>
              </c:ext>
            </c:extLst>
          </c:dPt>
          <c:dPt>
            <c:idx val="2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20A-4245-BAF4-75DF9571B81D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8BA-42C8-B76D-29192C17F22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% of UK adult population</c:v>
                </c:pt>
                <c:pt idx="1">
                  <c:v>% of Opening Week Audience</c:v>
                </c:pt>
                <c:pt idx="2">
                  <c:v>% of Opening Weekend Audience</c:v>
                </c:pt>
                <c:pt idx="3">
                  <c:v>% of Opening Night Audience 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2</c:v>
                </c:pt>
                <c:pt idx="1">
                  <c:v>0.46</c:v>
                </c:pt>
                <c:pt idx="2">
                  <c:v>0.55000000000000004</c:v>
                </c:pt>
                <c:pt idx="3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20A-4245-BAF4-75DF9571B8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994746288"/>
        <c:axId val="-994743968"/>
      </c:barChart>
      <c:catAx>
        <c:axId val="-9947462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dirty="0">
                    <a:solidFill>
                      <a:schemeClr val="accent6"/>
                    </a:solidFill>
                  </a:rPr>
                  <a:t>How</a:t>
                </a:r>
                <a:r>
                  <a:rPr lang="en-GB" sz="1000" b="1" baseline="0" dirty="0">
                    <a:solidFill>
                      <a:schemeClr val="accent6"/>
                    </a:solidFill>
                  </a:rPr>
                  <a:t> long after the release date did you watch the film at the cinema? </a:t>
                </a:r>
                <a:endParaRPr lang="en-US" sz="1000" b="1" dirty="0">
                  <a:solidFill>
                    <a:schemeClr val="accent6"/>
                  </a:solidFill>
                </a:endParaRPr>
              </a:p>
            </c:rich>
          </c:tx>
          <c:layout>
            <c:manualLayout>
              <c:xMode val="edge"/>
              <c:yMode val="edge"/>
              <c:x val="0.33818915474961542"/>
              <c:y val="0.9653265889564742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accent6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94743968"/>
        <c:crosses val="autoZero"/>
        <c:auto val="1"/>
        <c:lblAlgn val="ctr"/>
        <c:lblOffset val="100"/>
        <c:noMultiLvlLbl val="0"/>
      </c:catAx>
      <c:valAx>
        <c:axId val="-994743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dirty="0">
                    <a:solidFill>
                      <a:schemeClr val="accent6"/>
                    </a:solidFill>
                  </a:rPr>
                  <a:t>%</a:t>
                </a:r>
                <a:r>
                  <a:rPr lang="en-GB" sz="1000" b="1" baseline="0" dirty="0">
                    <a:solidFill>
                      <a:schemeClr val="accent6"/>
                    </a:solidFill>
                  </a:rPr>
                  <a:t> of audience that are 16-34 adults </a:t>
                </a:r>
                <a:endParaRPr lang="en-US" sz="1000" b="1" dirty="0">
                  <a:solidFill>
                    <a:schemeClr val="accent6"/>
                  </a:solidFill>
                </a:endParaRPr>
              </a:p>
            </c:rich>
          </c:tx>
          <c:layout>
            <c:manualLayout>
              <c:xMode val="edge"/>
              <c:yMode val="edge"/>
              <c:x val="9.4616545606942865E-4"/>
              <c:y val="0.2486232218751619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accent6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>
                <a:lumMod val="60000"/>
                <a:lumOff val="4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994746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412795380407099E-2"/>
          <c:y val="0.18185696435555099"/>
          <c:w val="0.95117440923918595"/>
          <c:h val="0.69455171114590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tter Impression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B3-0645-A609-41CF9FCF8CC6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6B3-0645-A609-41CF9FCF8CC6}"/>
              </c:ext>
            </c:extLst>
          </c:dPt>
          <c:cat>
            <c:strRef>
              <c:f>Sheet1!$A$2:$A$3</c:f>
              <c:strCache>
                <c:ptCount val="2"/>
                <c:pt idx="0">
                  <c:v>Not exposed to cinema</c:v>
                </c:pt>
                <c:pt idx="1">
                  <c:v>Exposed to cinema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5</c:v>
                </c:pt>
                <c:pt idx="1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B3-0645-A609-41CF9FCF8C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311029088"/>
        <c:axId val="-1311023712"/>
      </c:barChart>
      <c:catAx>
        <c:axId val="-1311029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1311023712"/>
        <c:crosses val="autoZero"/>
        <c:auto val="1"/>
        <c:lblAlgn val="ctr"/>
        <c:lblOffset val="100"/>
        <c:noMultiLvlLbl val="0"/>
      </c:catAx>
      <c:valAx>
        <c:axId val="-1311023712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-1311029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412737881449001E-2"/>
          <c:y val="0.18185702512318999"/>
          <c:w val="0.95117440923918595"/>
          <c:h val="0.69455171114590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tter Impression</c:v>
                </c:pt>
              </c:strCache>
            </c:strRef>
          </c:tx>
          <c:spPr>
            <a:solidFill>
              <a:srgbClr val="D5D5D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14D-DB4A-A066-6E47DC68DEFC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14D-DB4A-A066-6E47DC68DEFC}"/>
              </c:ext>
            </c:extLst>
          </c:dPt>
          <c:cat>
            <c:strRef>
              <c:f>Sheet1!$A$2:$A$3</c:f>
              <c:strCache>
                <c:ptCount val="2"/>
                <c:pt idx="0">
                  <c:v>Not exposed to cinema</c:v>
                </c:pt>
                <c:pt idx="1">
                  <c:v>Exposed to cinema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28000000000000003</c:v>
                </c:pt>
                <c:pt idx="1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4D-DB4A-A066-6E47DC68DE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310987040"/>
        <c:axId val="-1310984288"/>
      </c:barChart>
      <c:catAx>
        <c:axId val="-1310987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1310984288"/>
        <c:crosses val="autoZero"/>
        <c:auto val="1"/>
        <c:lblAlgn val="ctr"/>
        <c:lblOffset val="100"/>
        <c:noMultiLvlLbl val="0"/>
      </c:catAx>
      <c:valAx>
        <c:axId val="-1310984288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-13109870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412795380407099E-2"/>
          <c:y val="0.18185696435555099"/>
          <c:w val="0.95117440923918595"/>
          <c:h val="0.69455171114590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tter Impression</c:v>
                </c:pt>
              </c:strCache>
            </c:strRef>
          </c:tx>
          <c:spPr>
            <a:solidFill>
              <a:srgbClr val="D5D5D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382-964D-AF28-39F2A3DCED8C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382-964D-AF28-39F2A3DCED8C}"/>
              </c:ext>
            </c:extLst>
          </c:dPt>
          <c:cat>
            <c:strRef>
              <c:f>Sheet1!$A$2:$A$3</c:f>
              <c:strCache>
                <c:ptCount val="2"/>
                <c:pt idx="0">
                  <c:v>Not exposed to cinema</c:v>
                </c:pt>
                <c:pt idx="1">
                  <c:v>Exposed to cinema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25</c:v>
                </c:pt>
                <c:pt idx="1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82-964D-AF28-39F2A3DCED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310377056"/>
        <c:axId val="-1310374304"/>
      </c:barChart>
      <c:catAx>
        <c:axId val="-1310377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1310374304"/>
        <c:crosses val="autoZero"/>
        <c:auto val="1"/>
        <c:lblAlgn val="ctr"/>
        <c:lblOffset val="100"/>
        <c:noMultiLvlLbl val="0"/>
      </c:catAx>
      <c:valAx>
        <c:axId val="-1310374304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-1310377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/28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/2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ross the first two qual phases we collated a list of different phrases and descriptions of the different viewing experiences people had with the different AV media. In the survey to 1,000 16-34s we asked them to select which descriptors they most associated with viewing content on each of the AV platforms.</a:t>
            </a:r>
          </a:p>
          <a:p>
            <a:endParaRPr lang="en-GB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slide highlights the Top 3 phrases selected for each AV platform and showcases the unique position that cinema occupies in the AV landscape. </a:t>
            </a:r>
          </a:p>
          <a:p>
            <a:endParaRPr lang="en-GB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GB" sz="1200" b="0" dirty="0">
                <a:solidFill>
                  <a:srgbClr val="2B2B2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 a basic level, Live TV, VOD, YouTube and videos on social are broadly seen as ways to fill time with some slight differences for each platform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0" dirty="0">
              <a:solidFill>
                <a:srgbClr val="2B2B2A"/>
              </a:solidFill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dirty="0">
                <a:solidFill>
                  <a:srgbClr val="2B2B2A"/>
                </a:solidFill>
                <a:latin typeface="Helvetica" pitchFamily="2" charset="0"/>
              </a:rPr>
              <a:t>Live TV provides a comforting accompaniment.</a:t>
            </a:r>
            <a:endParaRPr lang="en-GB" sz="800" b="0" dirty="0">
              <a:solidFill>
                <a:srgbClr val="2B2B2A"/>
              </a:solidFill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dirty="0">
                <a:solidFill>
                  <a:srgbClr val="2B2B2A"/>
                </a:solidFill>
                <a:latin typeface="Helvetica" pitchFamily="2" charset="0"/>
              </a:rPr>
              <a:t>VOD is the place to binge on favourite show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dirty="0">
                <a:solidFill>
                  <a:srgbClr val="2B2B2A"/>
                </a:solidFill>
                <a:latin typeface="Helvetica" pitchFamily="2" charset="0"/>
              </a:rPr>
              <a:t>YouTube is a temporary escape from other tasks (e.g. popping to YT for a quick video to distract yourself from work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dirty="0">
                <a:solidFill>
                  <a:srgbClr val="2B2B2A"/>
                </a:solidFill>
                <a:latin typeface="Helvetica" pitchFamily="2" charset="0"/>
              </a:rPr>
              <a:t>Videos on Social Media are far more spontaneous and often given less attention.</a:t>
            </a:r>
          </a:p>
          <a:p>
            <a:endParaRPr lang="en-US" sz="1200" b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dirty="0">
                <a:solidFill>
                  <a:srgbClr val="2B2B2A"/>
                </a:solidFill>
                <a:latin typeface="Helvetica" pitchFamily="2" charset="0"/>
              </a:rPr>
              <a:t>Whereas, Cinema is perceived as a shared experience, highly attentive and providing quality content – offering something unique to audiences and highlights why cinema remains in such strong health with the 16-34 audience.</a:t>
            </a: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527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76685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dirty="0"/>
              <a:t>In the focus groups one cinemagoer referred to experience of entering the screen as entering into a “bubble” – and almost three quarters of the 16-34 audience agree that a trip a cinema places them into a bubble where the outside world can’t intrude. </a:t>
            </a:r>
          </a:p>
          <a:p>
            <a:endParaRPr lang="en-US" sz="1600" dirty="0"/>
          </a:p>
          <a:p>
            <a:r>
              <a:rPr lang="en-US" sz="1600" dirty="0"/>
              <a:t>This true escapism is welcomed by the audience and the benefit for advertisers is that cinema ads are actually seen as part of the experience – that cinemagoers pay attention to and often actually engage with, talking to their friends/family/partner about them while they’re watching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34004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/>
              <a:t>We wanted to go one step further and prove that cinema’s positive attributes and unique environment actually do pay off for brands too amongst the 16-34 audience. </a:t>
            </a:r>
          </a:p>
          <a:p>
            <a:endParaRPr lang="en-US" sz="1400" dirty="0"/>
          </a:p>
          <a:p>
            <a:r>
              <a:rPr lang="en-US" sz="1400" dirty="0" err="1"/>
              <a:t>Differentology</a:t>
            </a:r>
            <a:r>
              <a:rPr lang="en-US" sz="1400" dirty="0"/>
              <a:t> undertook a meta-analysis of 12 campaigns that they had measured the effectiveness of amongst the 16-34 audience across the last 18 months and found that those exposed to cinema were 30% more likely to have been left with a positive impression of the brand as a result of the campaign.</a:t>
            </a:r>
          </a:p>
          <a:p>
            <a:endParaRPr lang="en-US" sz="1400" dirty="0"/>
          </a:p>
          <a:p>
            <a:r>
              <a:rPr lang="en-US" sz="1400" dirty="0"/>
              <a:t>Furthermore, the highly attentive audience in cinema makes it the perfect environment for landing brand messages – results of the meta-analysis highlight that being exposed to cinema led to a 42% increase in rational brand perception agreement and 60% uplift in emotional brand perception agreement.</a:t>
            </a:r>
          </a:p>
          <a:p>
            <a:endParaRPr lang="en-US" sz="1400" dirty="0"/>
          </a:p>
          <a:p>
            <a:r>
              <a:rPr lang="en-US" sz="1400" dirty="0"/>
              <a:t>Highlighting the valuable role that cinema can play in both communicating key messages and </a:t>
            </a:r>
            <a:r>
              <a:rPr lang="en-US" sz="1400" b="1" dirty="0"/>
              <a:t>positively </a:t>
            </a:r>
            <a:r>
              <a:rPr lang="en-US" sz="1400" dirty="0"/>
              <a:t>engaging the 16-34 audience with brand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71298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4781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8412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2.png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2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2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2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2.png"/><Relationship Id="rId2" Type="http://schemas.openxmlformats.org/officeDocument/2006/relationships/tags" Target="../tags/tag127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2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2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2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2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2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9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2.bin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3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4.bin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8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2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6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7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0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1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2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4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2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9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9643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63539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150125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32629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0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166278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1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15584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1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815940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1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220759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1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29438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2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25999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51071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18236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650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9467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36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084948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99838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40610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260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51932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4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8840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4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035104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4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0241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3523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5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85769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5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3745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5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3185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428140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1986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62898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08026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79574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07017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6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59" t="3595" r="68462" b="84596"/>
          <a:stretch/>
        </p:blipFill>
        <p:spPr>
          <a:xfrm>
            <a:off x="0" y="195941"/>
            <a:ext cx="3545263" cy="80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176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6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59" t="6436" r="69250" b="88379"/>
          <a:stretch/>
        </p:blipFill>
        <p:spPr>
          <a:xfrm>
            <a:off x="0" y="390524"/>
            <a:ext cx="3449240" cy="355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23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6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751453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6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44961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7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314728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4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976394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6665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7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8905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8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826656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8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381875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8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6733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8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36626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9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374122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9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915002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9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64284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2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861921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128560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0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 – delete grey shap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197424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0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7096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0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6148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1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573372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1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851627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1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917191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1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384550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8994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62367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2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1542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73462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2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81694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5098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3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28582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3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1316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3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2346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3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6316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4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9512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4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94091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9918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26186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5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2385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5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8866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5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0882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86232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38192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195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398202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9786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75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3807635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3990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1471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14262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57661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6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0441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6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07020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740855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7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56022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7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99597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7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681425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67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81993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8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288911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8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78160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8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1163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8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37164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19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781611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68049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9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058061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9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1608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0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2191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70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 – delete grey shap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944618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90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6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1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57" lvl="0" indent="-96857" algn="l" defTabSz="961706" rtl="0" eaLnBrk="1" latinLnBrk="0" hangingPunct="1">
              <a:lnSpc>
                <a:spcPts val="14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06522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9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4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4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3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7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7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  <p:sp>
        <p:nvSpPr>
          <p:cNvPr id="90" name="TextBox 20"/>
          <p:cNvSpPr txBox="1">
            <a:spLocks noChangeArrowheads="1"/>
          </p:cNvSpPr>
          <p:nvPr userDrawn="1"/>
        </p:nvSpPr>
        <p:spPr bwMode="auto">
          <a:xfrm>
            <a:off x="10611285" y="6183028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91" name="TextBox 21"/>
          <p:cNvSpPr txBox="1">
            <a:spLocks noChangeArrowheads="1"/>
          </p:cNvSpPr>
          <p:nvPr userDrawn="1"/>
        </p:nvSpPr>
        <p:spPr bwMode="auto">
          <a:xfrm>
            <a:off x="12026518" y="6183027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92" name="Freeform 43"/>
          <p:cNvSpPr>
            <a:spLocks/>
          </p:cNvSpPr>
          <p:nvPr userDrawn="1"/>
        </p:nvSpPr>
        <p:spPr bwMode="auto">
          <a:xfrm>
            <a:off x="10452595" y="4868460"/>
            <a:ext cx="1263600" cy="12636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3" name="Freeform 20"/>
          <p:cNvSpPr>
            <a:spLocks/>
          </p:cNvSpPr>
          <p:nvPr userDrawn="1"/>
        </p:nvSpPr>
        <p:spPr bwMode="auto">
          <a:xfrm>
            <a:off x="11911150" y="4868460"/>
            <a:ext cx="1263600" cy="12636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2192258" y="3618285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10647867" y="3620185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12081181" y="2538673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10603878" y="2517413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274363" y="5096617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268299" y="3994458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7656615" y="3994458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4705636" y="3994458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745602" y="3994458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6177509" y="3994458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22903" y="3994458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782252" y="509661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3217526" y="5096617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4665507" y="5096617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6201770" y="5096617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7691105" y="5096617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10642171" y="5096617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10614848" y="3994458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9164126" y="5096617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9132115" y="3994458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vmlDrawing" Target="../drawings/vmlDrawing73.v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ags" Target="../tags/tag7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4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vmlDrawing" Target="../drawings/vmlDrawing76.v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theme" Target="../theme/theme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0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oleObject" Target="../embeddings/oleObject76.bin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tags" Target="../tags/tag7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26" Type="http://schemas.openxmlformats.org/officeDocument/2006/relationships/oleObject" Target="../embeddings/oleObject87.bin"/><Relationship Id="rId3" Type="http://schemas.openxmlformats.org/officeDocument/2006/relationships/slideLayout" Target="../slideLayouts/slideLayout115.xml"/><Relationship Id="rId21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5" Type="http://schemas.openxmlformats.org/officeDocument/2006/relationships/tags" Target="../tags/tag88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24" Type="http://schemas.openxmlformats.org/officeDocument/2006/relationships/vmlDrawing" Target="../drawings/vmlDrawing87.v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23" Type="http://schemas.openxmlformats.org/officeDocument/2006/relationships/theme" Target="../theme/theme1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22.xml"/><Relationship Id="rId19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Relationship Id="rId22" Type="http://schemas.openxmlformats.org/officeDocument/2006/relationships/slideLayout" Target="../slideLayouts/slideLayout134.xml"/><Relationship Id="rId27" Type="http://schemas.openxmlformats.org/officeDocument/2006/relationships/image" Target="../media/image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37.xml"/><Relationship Id="rId21" Type="http://schemas.openxmlformats.org/officeDocument/2006/relationships/tags" Target="../tags/tag103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vmlDrawing" Target="../drawings/vmlDrawing102.v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44.xml"/><Relationship Id="rId19" Type="http://schemas.openxmlformats.org/officeDocument/2006/relationships/theme" Target="../theme/theme1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oleObject" Target="../embeddings/oleObject10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theme" Target="../theme/theme15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4.xml"/><Relationship Id="rId16" Type="http://schemas.openxmlformats.org/officeDocument/2006/relationships/oleObject" Target="../embeddings/oleObject121.bin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57.xml"/><Relationship Id="rId15" Type="http://schemas.openxmlformats.org/officeDocument/2006/relationships/tags" Target="../tags/tag122.xml"/><Relationship Id="rId10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vmlDrawing" Target="../drawings/vmlDrawing121.v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67.xml"/><Relationship Id="rId21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oleObject" Target="../embeddings/oleObject131.bin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24" Type="http://schemas.openxmlformats.org/officeDocument/2006/relationships/tags" Target="../tags/tag132.xml"/><Relationship Id="rId5" Type="http://schemas.openxmlformats.org/officeDocument/2006/relationships/slideLayout" Target="../slideLayouts/slideLayout169.xml"/><Relationship Id="rId15" Type="http://schemas.openxmlformats.org/officeDocument/2006/relationships/slideLayout" Target="../slideLayouts/slideLayout179.xml"/><Relationship Id="rId23" Type="http://schemas.openxmlformats.org/officeDocument/2006/relationships/vmlDrawing" Target="../drawings/vmlDrawing131.vml"/><Relationship Id="rId10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8.xml"/><Relationship Id="rId22" Type="http://schemas.openxmlformats.org/officeDocument/2006/relationships/theme" Target="../theme/theme16.xml"/><Relationship Id="rId27" Type="http://schemas.openxmlformats.org/officeDocument/2006/relationships/image" Target="../media/image2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slideLayout" Target="../slideLayouts/slideLayout198.xml"/><Relationship Id="rId18" Type="http://schemas.openxmlformats.org/officeDocument/2006/relationships/theme" Target="../theme/theme17.xml"/><Relationship Id="rId3" Type="http://schemas.openxmlformats.org/officeDocument/2006/relationships/slideLayout" Target="../slideLayouts/slideLayout188.xml"/><Relationship Id="rId21" Type="http://schemas.openxmlformats.org/officeDocument/2006/relationships/oleObject" Target="../embeddings/oleObject145.bin"/><Relationship Id="rId7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197.xml"/><Relationship Id="rId17" Type="http://schemas.openxmlformats.org/officeDocument/2006/relationships/slideLayout" Target="../slideLayouts/slideLayout202.xml"/><Relationship Id="rId2" Type="http://schemas.openxmlformats.org/officeDocument/2006/relationships/slideLayout" Target="../slideLayouts/slideLayout187.xml"/><Relationship Id="rId16" Type="http://schemas.openxmlformats.org/officeDocument/2006/relationships/slideLayout" Target="../slideLayouts/slideLayout201.xml"/><Relationship Id="rId20" Type="http://schemas.openxmlformats.org/officeDocument/2006/relationships/tags" Target="../tags/tag146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24" Type="http://schemas.openxmlformats.org/officeDocument/2006/relationships/image" Target="../media/image7.png"/><Relationship Id="rId5" Type="http://schemas.openxmlformats.org/officeDocument/2006/relationships/slideLayout" Target="../slideLayouts/slideLayout190.xml"/><Relationship Id="rId15" Type="http://schemas.openxmlformats.org/officeDocument/2006/relationships/slideLayout" Target="../slideLayouts/slideLayout200.xml"/><Relationship Id="rId23" Type="http://schemas.openxmlformats.org/officeDocument/2006/relationships/image" Target="../media/image6.emf"/><Relationship Id="rId10" Type="http://schemas.openxmlformats.org/officeDocument/2006/relationships/slideLayout" Target="../slideLayouts/slideLayout195.xml"/><Relationship Id="rId19" Type="http://schemas.openxmlformats.org/officeDocument/2006/relationships/vmlDrawing" Target="../drawings/vmlDrawing145.v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9.xml"/><Relationship Id="rId22" Type="http://schemas.openxmlformats.org/officeDocument/2006/relationships/image" Target="../media/image1.emf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63.vml"/><Relationship Id="rId7" Type="http://schemas.openxmlformats.org/officeDocument/2006/relationships/image" Target="../media/image2.png"/><Relationship Id="rId2" Type="http://schemas.openxmlformats.org/officeDocument/2006/relationships/theme" Target="../theme/theme18.xml"/><Relationship Id="rId1" Type="http://schemas.openxmlformats.org/officeDocument/2006/relationships/slideLayout" Target="../slideLayouts/slideLayout2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3.bin"/><Relationship Id="rId4" Type="http://schemas.openxmlformats.org/officeDocument/2006/relationships/tags" Target="../tags/tag16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vmlDrawing" Target="../drawings/vmlDrawing22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37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4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3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58.xml"/><Relationship Id="rId5" Type="http://schemas.openxmlformats.org/officeDocument/2006/relationships/vmlDrawing" Target="../drawings/vmlDrawing57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9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78.xml"/><Relationship Id="rId9" Type="http://schemas.openxmlformats.org/officeDocument/2006/relationships/tags" Target="../tags/tag6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83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4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73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2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07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711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238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965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60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229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337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  <p:sldLayoutId id="2147484078" r:id="rId11"/>
    <p:sldLayoutId id="2147484079" r:id="rId12"/>
    <p:sldLayoutId id="2147484080" r:id="rId13"/>
    <p:sldLayoutId id="2147484081" r:id="rId14"/>
    <p:sldLayoutId id="2147484082" r:id="rId15"/>
    <p:sldLayoutId id="2147484083" r:id="rId16"/>
    <p:sldLayoutId id="2147484084" r:id="rId17"/>
    <p:sldLayoutId id="2147484085" r:id="rId18"/>
    <p:sldLayoutId id="2147484086" r:id="rId19"/>
    <p:sldLayoutId id="2147484087" r:id="rId20"/>
    <p:sldLayoutId id="2147484088" r:id="rId21"/>
    <p:sldLayoutId id="2147484089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589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84EC456-35A8-744E-B007-55313A310340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580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  <p:sldLayoutId id="2147484103" r:id="rId13"/>
    <p:sldLayoutId id="2147484104" r:id="rId14"/>
    <p:sldLayoutId id="2147484105" r:id="rId15"/>
    <p:sldLayoutId id="2147484106" r:id="rId16"/>
    <p:sldLayoutId id="2147484107" r:id="rId17"/>
    <p:sldLayoutId id="2147484108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FFFFFF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45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431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18" r:id="rId9"/>
    <p:sldLayoutId id="2147484119" r:id="rId10"/>
    <p:sldLayoutId id="2147484120" r:id="rId11"/>
    <p:sldLayoutId id="214748412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285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978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  <p:sldLayoutId id="2147484126" r:id="rId4"/>
    <p:sldLayoutId id="2147484127" r:id="rId5"/>
    <p:sldLayoutId id="2147484128" r:id="rId6"/>
    <p:sldLayoutId id="2147484129" r:id="rId7"/>
    <p:sldLayoutId id="2147484130" r:id="rId8"/>
    <p:sldLayoutId id="2147484131" r:id="rId9"/>
    <p:sldLayoutId id="2147484132" r:id="rId10"/>
    <p:sldLayoutId id="2147484133" r:id="rId11"/>
    <p:sldLayoutId id="2147484134" r:id="rId12"/>
    <p:sldLayoutId id="2147484135" r:id="rId13"/>
    <p:sldLayoutId id="2147484136" r:id="rId14"/>
    <p:sldLayoutId id="2147484137" r:id="rId15"/>
    <p:sldLayoutId id="2147484138" r:id="rId16"/>
    <p:sldLayoutId id="2147484139" r:id="rId17"/>
    <p:sldLayoutId id="2147484140" r:id="rId18"/>
    <p:sldLayoutId id="2147484141" r:id="rId19"/>
    <p:sldLayoutId id="2147484142" r:id="rId20"/>
    <p:sldLayoutId id="2147484143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619" name="think-cell Slide" r:id="rId21" imgW="6350000" imgH="6350000" progId="">
                  <p:embed/>
                </p:oleObj>
              </mc:Choice>
              <mc:Fallback>
                <p:oleObj name="think-cell Slide" r:id="rId21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1"/>
            <a:ext cx="13442950" cy="7561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420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8415" y="7233159"/>
            <a:ext cx="1235710" cy="19558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1234675" y="7153109"/>
            <a:ext cx="0" cy="32742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1862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46" r:id="rId2"/>
    <p:sldLayoutId id="2147484147" r:id="rId3"/>
    <p:sldLayoutId id="2147484148" r:id="rId4"/>
    <p:sldLayoutId id="2147484149" r:id="rId5"/>
    <p:sldLayoutId id="2147484150" r:id="rId6"/>
    <p:sldLayoutId id="2147484151" r:id="rId7"/>
    <p:sldLayoutId id="2147484152" r:id="rId8"/>
    <p:sldLayoutId id="2147484153" r:id="rId9"/>
    <p:sldLayoutId id="2147484154" r:id="rId10"/>
    <p:sldLayoutId id="2147484155" r:id="rId11"/>
    <p:sldLayoutId id="2147484156" r:id="rId12"/>
    <p:sldLayoutId id="2147484157" r:id="rId13"/>
    <p:sldLayoutId id="2147484158" r:id="rId14"/>
    <p:sldLayoutId id="2147484159" r:id="rId15"/>
    <p:sldLayoutId id="2147484160" r:id="rId16"/>
    <p:sldLayoutId id="2147484161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FFFFFF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3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802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3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1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387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706" rtl="0" eaLnBrk="1" latinLnBrk="0" hangingPunct="1">
        <a:spcBef>
          <a:spcPct val="0"/>
        </a:spcBef>
        <a:buNone/>
        <a:defRPr sz="2799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706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706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706" rtl="0" eaLnBrk="1" latinLnBrk="0" hangingPunct="1">
        <a:lnSpc>
          <a:spcPts val="1499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706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706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4697" indent="-240428" algn="l" defTabSz="96170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551" indent="-240428" algn="l" defTabSz="96170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405" indent="-240428" algn="l" defTabSz="96170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259" indent="-240428" algn="l" defTabSz="96170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7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854" algn="l" defTabSz="9617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706" algn="l" defTabSz="9617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563" algn="l" defTabSz="9617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416" algn="l" defTabSz="9617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270" algn="l" defTabSz="9617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123" algn="l" defTabSz="9617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5978" algn="l" defTabSz="9617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6829" algn="l" defTabSz="96170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89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171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047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54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36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936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487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776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4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8.xml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8.xml"/><Relationship Id="rId6" Type="http://schemas.openxmlformats.org/officeDocument/2006/relationships/image" Target="../media/image16.png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7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FA0E1B3A-F8E0-F341-8528-A41CA6C4287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34" r="4740" b="23744"/>
          <a:stretch/>
        </p:blipFill>
        <p:spPr>
          <a:xfrm>
            <a:off x="0" y="0"/>
            <a:ext cx="13442950" cy="7083425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8F928EC-7E68-4F88-83A8-5037F72FB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64906" y="4763522"/>
            <a:ext cx="12331696" cy="709383"/>
          </a:xfrm>
        </p:spPr>
        <p:txBody>
          <a:bodyPr/>
          <a:lstStyle/>
          <a:p>
            <a:pPr>
              <a:lnSpc>
                <a:spcPts val="6500"/>
              </a:lnSpc>
            </a:pPr>
            <a:r>
              <a:rPr lang="en-GB" sz="6500" dirty="0">
                <a:solidFill>
                  <a:schemeClr val="tx1"/>
                </a:solidFill>
              </a:rPr>
              <a:t>Unmissable content </a:t>
            </a:r>
            <a:br>
              <a:rPr lang="en-GB" sz="6500" dirty="0">
                <a:solidFill>
                  <a:schemeClr val="tx1"/>
                </a:solidFill>
              </a:rPr>
            </a:br>
            <a:r>
              <a:rPr lang="en-GB" sz="6500" dirty="0">
                <a:solidFill>
                  <a:schemeClr val="tx1"/>
                </a:solidFill>
              </a:rPr>
              <a:t>for 16-34s</a:t>
            </a:r>
            <a:endParaRPr lang="en-US" sz="65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42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C21C76-5A0D-4190-9E68-6CF7056786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 race to watch the latest blockbusters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FEF4F2-94AB-4944-85F9-20977EEC0B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5">
                    <a:lumMod val="75000"/>
                  </a:schemeClr>
                </a:solidFill>
              </a:rPr>
              <a:t>16-34 adults are significantly more likely to go and see a film early in its release enabling brands to tap into hype, anticipation and excitement.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F4C1EA-C452-4C7A-AAD2-F7DE926AF5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97567" y="7251119"/>
            <a:ext cx="6300922" cy="123111"/>
          </a:xfrm>
        </p:spPr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FAME 2018.  Last cinema visit.  How long after the release date did  you watch the film? % vs. all cinemagoers base (7+). </a:t>
            </a:r>
            <a:endParaRPr lang="en-US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294541C-EBC1-4642-887D-40AAB8310C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5547535"/>
              </p:ext>
            </p:extLst>
          </p:nvPr>
        </p:nvGraphicFramePr>
        <p:xfrm>
          <a:off x="707067" y="1352550"/>
          <a:ext cx="11539208" cy="5365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1799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C3C7F711-93CC-4089-B439-65DB27EBEE3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grayscl/>
          </a:blip>
          <a:srcRect l="1662" r="1662" b="9641"/>
          <a:stretch/>
        </p:blipFill>
        <p:spPr>
          <a:xfrm>
            <a:off x="0" y="0"/>
            <a:ext cx="13442950" cy="70675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5E729BC5-68C8-44B4-9D69-C92F9E5503D8}"/>
              </a:ext>
            </a:extLst>
          </p:cNvPr>
          <p:cNvSpPr/>
          <p:nvPr/>
        </p:nvSpPr>
        <p:spPr>
          <a:xfrm>
            <a:off x="0" y="0"/>
            <a:ext cx="13442950" cy="7067550"/>
          </a:xfrm>
          <a:prstGeom prst="rect">
            <a:avLst/>
          </a:prstGeom>
          <a:solidFill>
            <a:schemeClr val="bg2">
              <a:alpha val="88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43FB7F10-5FB5-484C-ABE9-61D0034A1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16-34 adults are early adopter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72D64B9-29B6-48BA-BF48-55D69EF65C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dirty="0">
                <a:solidFill>
                  <a:srgbClr val="FFFFFF"/>
                </a:solidFill>
              </a:rPr>
              <a:t>They do not want to miss out and are more likely to buy new products before their friends. 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1EFBBF95-8AD3-4147-950B-EB0F3A3C57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51228" y="7191785"/>
            <a:ext cx="3116263" cy="246221"/>
          </a:xfrm>
        </p:spPr>
        <p:txBody>
          <a:bodyPr/>
          <a:lstStyle/>
          <a:p>
            <a:pPr lvl="0">
              <a:buClrTx/>
              <a:buSzTx/>
              <a:defRPr/>
            </a:pPr>
            <a:r>
              <a:rPr lang="en-GB" b="1" dirty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  <a:ea typeface="Arial" charset="0"/>
                <a:cs typeface="Arial" charset="0"/>
              </a:rPr>
              <a:t>Source</a:t>
            </a:r>
            <a:r>
              <a:rPr lang="en-GB" dirty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  <a:ea typeface="Arial" charset="0"/>
                <a:cs typeface="Arial" charset="0"/>
              </a:rPr>
              <a:t>: TGI Q2 2019.</a:t>
            </a:r>
          </a:p>
          <a:p>
            <a:pPr lvl="0">
              <a:buClrTx/>
              <a:buSzTx/>
              <a:defRPr/>
            </a:pPr>
            <a:r>
              <a:rPr lang="en-GB" dirty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  <a:ea typeface="Arial" charset="0"/>
                <a:cs typeface="Arial" charset="0"/>
              </a:rPr>
              <a:t>Target: 16-34 cinemagoers.  Index vs. average UK adult.</a:t>
            </a:r>
            <a:endParaRPr lang="en-US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91DB83E-D382-4F0E-BCB5-70664EDD17A0}"/>
              </a:ext>
            </a:extLst>
          </p:cNvPr>
          <p:cNvSpPr/>
          <p:nvPr/>
        </p:nvSpPr>
        <p:spPr>
          <a:xfrm>
            <a:off x="270000" y="1478474"/>
            <a:ext cx="6383593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78% like to treat themselves to new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hings they don’t need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16 vs. 67% of UK population)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D29ADBC-9ECA-4E34-932D-8C8BABB4F2C9}"/>
              </a:ext>
            </a:extLst>
          </p:cNvPr>
          <p:cNvSpPr/>
          <p:nvPr/>
        </p:nvSpPr>
        <p:spPr>
          <a:xfrm>
            <a:off x="270000" y="3114352"/>
            <a:ext cx="3820280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59% ‘keep up to date with developments in technology’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27)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938701F-EF20-4BBF-8C8F-83B343C50528}"/>
              </a:ext>
            </a:extLst>
          </p:cNvPr>
          <p:cNvSpPr/>
          <p:nvPr/>
        </p:nvSpPr>
        <p:spPr>
          <a:xfrm>
            <a:off x="270001" y="4774508"/>
            <a:ext cx="4567479" cy="1689432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63% ‘like to try new drinks’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50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9DF74A2-45F2-4665-9615-3663775EDD6A}"/>
              </a:ext>
            </a:extLst>
          </p:cNvPr>
          <p:cNvSpPr/>
          <p:nvPr/>
        </p:nvSpPr>
        <p:spPr>
          <a:xfrm>
            <a:off x="5027981" y="4774506"/>
            <a:ext cx="3820743" cy="1696785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54% love to buy new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gadgets and appliances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49)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6BA7216-816D-44D6-9D1C-A88697876CDA}"/>
              </a:ext>
            </a:extLst>
          </p:cNvPr>
          <p:cNvSpPr/>
          <p:nvPr/>
        </p:nvSpPr>
        <p:spPr>
          <a:xfrm>
            <a:off x="6817918" y="1471122"/>
            <a:ext cx="6275715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Early Adopters: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hey are 60% more likely to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‘buy new products before their friends’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61)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D3124E3-B8C7-4EE7-8FCD-7A5F6039893A}"/>
              </a:ext>
            </a:extLst>
          </p:cNvPr>
          <p:cNvSpPr/>
          <p:nvPr/>
        </p:nvSpPr>
        <p:spPr>
          <a:xfrm>
            <a:off x="9039225" y="4774506"/>
            <a:ext cx="4054408" cy="1689432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‘I love anything new’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40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BE0A46E-6994-4444-906A-62CBE0069957}"/>
              </a:ext>
            </a:extLst>
          </p:cNvPr>
          <p:cNvSpPr/>
          <p:nvPr/>
        </p:nvSpPr>
        <p:spPr>
          <a:xfrm>
            <a:off x="8520841" y="3114352"/>
            <a:ext cx="4572791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‘People come to me for advice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before buying new things’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61)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8D01562-D500-4E67-B5FE-C2B4E6F4E798}"/>
              </a:ext>
            </a:extLst>
          </p:cNvPr>
          <p:cNvSpPr/>
          <p:nvPr/>
        </p:nvSpPr>
        <p:spPr>
          <a:xfrm>
            <a:off x="4291347" y="3114352"/>
            <a:ext cx="4041535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‘I’m tempted to buy products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I’ve seen advertised’</a:t>
            </a: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57)</a:t>
            </a:r>
          </a:p>
        </p:txBody>
      </p:sp>
    </p:spTree>
    <p:extLst>
      <p:ext uri="{BB962C8B-B14F-4D97-AF65-F5344CB8AC3E}">
        <p14:creationId xmlns:p14="http://schemas.microsoft.com/office/powerpoint/2010/main" val="240731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03F8A7-ED7C-4F64-AACA-70B965F019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y are receptive and attentive to cinema advertising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CEF436-8D07-4E08-9D36-593DB4E492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80867" y="7189564"/>
            <a:ext cx="5983288" cy="246221"/>
          </a:xfrm>
        </p:spPr>
        <p:txBody>
          <a:bodyPr/>
          <a:lstStyle/>
          <a:p>
            <a:pPr lvl="0">
              <a:defRPr/>
            </a:pPr>
            <a:r>
              <a:rPr lang="en-GB" dirty="0"/>
              <a:t>Source: Kantar Millward Brown – </a:t>
            </a:r>
            <a:r>
              <a:rPr lang="en-GB" dirty="0" err="1"/>
              <a:t>AdReaction</a:t>
            </a:r>
            <a:r>
              <a:rPr lang="en-GB" dirty="0"/>
              <a:t> Study.</a:t>
            </a:r>
          </a:p>
          <a:p>
            <a:pPr lvl="0">
              <a:defRPr/>
            </a:pPr>
            <a:r>
              <a:rPr lang="en-GB" dirty="0"/>
              <a:t>‘How would you describe your attitude towards each of the following formats of advertising? - % net positive.</a:t>
            </a:r>
            <a:endParaRPr lang="en-US" sz="9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8305957-ACD3-4DE6-9A0C-F8BCC579FF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The anticipation and excitement means cinema is perfect environment to reach young adults as they’re receptive and open to brand advertising. </a:t>
            </a:r>
          </a:p>
          <a:p>
            <a:pPr>
              <a:lnSpc>
                <a:spcPct val="100000"/>
              </a:lnSpc>
            </a:pP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E7AC331-8DAE-46DD-AD7E-2472FA618AF2}"/>
              </a:ext>
            </a:extLst>
          </p:cNvPr>
          <p:cNvSpPr txBox="1">
            <a:spLocks/>
          </p:cNvSpPr>
          <p:nvPr/>
        </p:nvSpPr>
        <p:spPr>
          <a:xfrm>
            <a:off x="3886834" y="1197565"/>
            <a:ext cx="3026990" cy="21405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 Z</a:t>
            </a:r>
          </a:p>
          <a:p>
            <a:pPr marL="0" marR="0" lvl="0" indent="0" algn="l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-19 year olds</a:t>
            </a:r>
          </a:p>
          <a:p>
            <a:pPr marL="0" marR="0" lvl="0" indent="0" algn="l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99A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15749B5-0D15-4571-A7DA-031A424E0767}"/>
              </a:ext>
            </a:extLst>
          </p:cNvPr>
          <p:cNvSpPr txBox="1">
            <a:spLocks/>
          </p:cNvSpPr>
          <p:nvPr/>
        </p:nvSpPr>
        <p:spPr>
          <a:xfrm>
            <a:off x="7514813" y="1197565"/>
            <a:ext cx="3026990" cy="21405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 Y</a:t>
            </a:r>
          </a:p>
          <a:p>
            <a:pPr marL="0" marR="0" lvl="0" indent="0" algn="l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-34 year olds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6142475-CF6A-4E60-A078-441D6F88B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0411267"/>
              </p:ext>
            </p:extLst>
          </p:nvPr>
        </p:nvGraphicFramePr>
        <p:xfrm>
          <a:off x="1841767" y="5258854"/>
          <a:ext cx="8781140" cy="14070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44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17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495468363"/>
                    </a:ext>
                  </a:extLst>
                </a:gridCol>
                <a:gridCol w="31622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1761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</a:pPr>
                      <a:r>
                        <a:rPr lang="en-GB" sz="10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</a:rPr>
                        <a:t>Cinema ads</a:t>
                      </a:r>
                      <a:endParaRPr lang="en-GB" sz="1000" dirty="0">
                        <a:ln>
                          <a:noFill/>
                        </a:ln>
                        <a:solidFill>
                          <a:schemeClr val="accent6"/>
                        </a:solidFill>
                      </a:endParaRPr>
                    </a:p>
                  </a:txBody>
                  <a:tcPr marL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b="1" dirty="0">
                          <a:solidFill>
                            <a:schemeClr val="tx1"/>
                          </a:solidFill>
                        </a:rPr>
                        <a:t>4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5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b="1" dirty="0">
                          <a:solidFill>
                            <a:schemeClr val="bg2"/>
                          </a:solidFill>
                        </a:rPr>
                        <a:t>3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1761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</a:pPr>
                      <a:r>
                        <a:rPr lang="en-GB" sz="1000" b="1" kern="12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V ads</a:t>
                      </a:r>
                    </a:p>
                  </a:txBody>
                  <a:tcPr marL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dirty="0">
                          <a:solidFill>
                            <a:schemeClr val="bg1"/>
                          </a:solidFill>
                        </a:rPr>
                        <a:t>1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5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dirty="0">
                          <a:solidFill>
                            <a:schemeClr val="bg1"/>
                          </a:solidFill>
                        </a:rPr>
                        <a:t>23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761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</a:pPr>
                      <a:r>
                        <a:rPr lang="en-GB" sz="1000" b="1" kern="12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Video ads (laptop/PC)</a:t>
                      </a:r>
                    </a:p>
                  </a:txBody>
                  <a:tcPr marL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dirty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-2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500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dirty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-2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1761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</a:pPr>
                      <a:r>
                        <a:rPr lang="en-GB" sz="1000" b="1" kern="12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Video ads (mobile)</a:t>
                      </a:r>
                    </a:p>
                  </a:txBody>
                  <a:tcPr marL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dirty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-26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500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dirty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-26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73E7107F-471B-4863-AFD8-5AAF04AC8DD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29" t="313" r="4881" b="5919"/>
          <a:stretch/>
        </p:blipFill>
        <p:spPr>
          <a:xfrm>
            <a:off x="7514813" y="1731072"/>
            <a:ext cx="3108094" cy="333168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313F0C5-A992-438D-B5BC-A7D11B5B838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04" r="23744" b="6208"/>
          <a:stretch/>
        </p:blipFill>
        <p:spPr>
          <a:xfrm>
            <a:off x="3886834" y="1735244"/>
            <a:ext cx="3108094" cy="3323340"/>
          </a:xfrm>
          <a:prstGeom prst="rect">
            <a:avLst/>
          </a:prstGeom>
        </p:spPr>
      </p:pic>
      <p:pic>
        <p:nvPicPr>
          <p:cNvPr id="13" name="Picture 2" descr="C:\Users\RafalimananaL\Desktop\OUTILS\New MB logo - SEPT 16\PNG\PNG\Kantar_Millwardbrown_Small_Logo_BLACK_RGB.png">
            <a:extLst>
              <a:ext uri="{FF2B5EF4-FFF2-40B4-BE49-F238E27FC236}">
                <a16:creationId xmlns:a16="http://schemas.microsoft.com/office/drawing/2014/main" id="{290F26A5-4C5C-4195-BE48-712AA4267B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6567" y="7210082"/>
            <a:ext cx="2112068" cy="168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B721409-6746-4F72-AB10-05647170B8B7}"/>
              </a:ext>
            </a:extLst>
          </p:cNvPr>
          <p:cNvCxnSpPr>
            <a:cxnSpLocks/>
          </p:cNvCxnSpPr>
          <p:nvPr/>
        </p:nvCxnSpPr>
        <p:spPr>
          <a:xfrm flipV="1">
            <a:off x="1220738" y="7210082"/>
            <a:ext cx="0" cy="225062"/>
          </a:xfrm>
          <a:prstGeom prst="line">
            <a:avLst/>
          </a:prstGeom>
          <a:ln w="0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088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8A6BA7E-F59A-1B43-900A-7C80C04275D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4745" y="1339726"/>
            <a:ext cx="4927348" cy="4440918"/>
          </a:xfrm>
          <a:prstGeom prst="ellipse">
            <a:avLst/>
          </a:prstGeom>
        </p:spPr>
      </p:pic>
      <p:sp>
        <p:nvSpPr>
          <p:cNvPr id="17" name="Title 3">
            <a:extLst>
              <a:ext uri="{FF2B5EF4-FFF2-40B4-BE49-F238E27FC236}">
                <a16:creationId xmlns:a16="http://schemas.microsoft.com/office/drawing/2014/main" id="{74DCFB93-E27F-43B6-841D-5CEB316B2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0" y="197251"/>
            <a:ext cx="12413343" cy="409568"/>
          </a:xfrm>
        </p:spPr>
        <p:txBody>
          <a:bodyPr/>
          <a:lstStyle/>
          <a:p>
            <a:r>
              <a:rPr lang="en-GB" sz="2800" spc="100" dirty="0">
                <a:solidFill>
                  <a:schemeClr val="bg1"/>
                </a:solidFill>
              </a:rPr>
              <a:t>Cinema ads HELP bring the viewer into a ‘bubble’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AB6197-609A-D748-BC43-6301030F445C}"/>
              </a:ext>
            </a:extLst>
          </p:cNvPr>
          <p:cNvSpPr/>
          <p:nvPr/>
        </p:nvSpPr>
        <p:spPr>
          <a:xfrm>
            <a:off x="5506227" y="7172065"/>
            <a:ext cx="776589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Q. To what extent do you agree or disagree with the following statements? (10 point scale – all ‘agree’ responses shown) </a:t>
            </a:r>
          </a:p>
          <a:p>
            <a:pPr marL="0" marR="0" lvl="0" indent="0" algn="r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Base: 1000 ‘16-34s’, 176 ‘16-34 Ad Avoiders’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39A020E-739E-784A-A138-583BACEAD4D7}"/>
              </a:ext>
            </a:extLst>
          </p:cNvPr>
          <p:cNvSpPr txBox="1"/>
          <p:nvPr/>
        </p:nvSpPr>
        <p:spPr>
          <a:xfrm>
            <a:off x="6276936" y="1192163"/>
            <a:ext cx="7088895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72% OF 16-34s AGREE </a:t>
            </a:r>
          </a:p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HAT “CINEMA IS A BUBBLE WHERE THE OUTSIDE WORLD CAN’T INTRUDE”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4791E4-63D6-43F5-B24E-3F602E93A1E6}"/>
              </a:ext>
            </a:extLst>
          </p:cNvPr>
          <p:cNvSpPr txBox="1"/>
          <p:nvPr/>
        </p:nvSpPr>
        <p:spPr>
          <a:xfrm>
            <a:off x="6354055" y="2972598"/>
            <a:ext cx="7088895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66% OF 16-34s AGREE </a:t>
            </a:r>
          </a:p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HAT “I PAY MORE ATTENTION TO ADS IN CINEMA THAN ELSEWHERE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1DA483-D80A-47EF-B24F-A2120C238D44}"/>
              </a:ext>
            </a:extLst>
          </p:cNvPr>
          <p:cNvSpPr txBox="1"/>
          <p:nvPr/>
        </p:nvSpPr>
        <p:spPr>
          <a:xfrm>
            <a:off x="6354056" y="4688037"/>
            <a:ext cx="6761310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70% OF 16-34 ‘AD AVOIDERS’ AGREE </a:t>
            </a:r>
          </a:p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HAT “I TALK TO THE PEOPLE I GO TO THE CINEMA WITH ABOUT THE ADS (WHILST WATCHING THEM)”</a:t>
            </a:r>
          </a:p>
        </p:txBody>
      </p:sp>
      <p:pic>
        <p:nvPicPr>
          <p:cNvPr id="11" name="Picture 2" descr="C:\Users\RafalimananaL\Desktop\OUTILS\New MB logo - SEPT 16\PNG\PNG\Kantar_Millwardbrown_Small_Logo_BLACK_RGB.png">
            <a:extLst>
              <a:ext uri="{FF2B5EF4-FFF2-40B4-BE49-F238E27FC236}">
                <a16:creationId xmlns:a16="http://schemas.microsoft.com/office/drawing/2014/main" id="{103C5A9E-5EC6-3B4E-9CAB-FE2C78497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6567" y="7210082"/>
            <a:ext cx="2112068" cy="168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78C3A2-316C-114E-8DB2-6B1023FC23EF}"/>
              </a:ext>
            </a:extLst>
          </p:cNvPr>
          <p:cNvCxnSpPr>
            <a:cxnSpLocks/>
          </p:cNvCxnSpPr>
          <p:nvPr/>
        </p:nvCxnSpPr>
        <p:spPr>
          <a:xfrm flipV="1">
            <a:off x="1220738" y="7210082"/>
            <a:ext cx="0" cy="225062"/>
          </a:xfrm>
          <a:prstGeom prst="line">
            <a:avLst/>
          </a:prstGeom>
          <a:ln w="0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1243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3">
            <a:extLst>
              <a:ext uri="{FF2B5EF4-FFF2-40B4-BE49-F238E27FC236}">
                <a16:creationId xmlns:a16="http://schemas.microsoft.com/office/drawing/2014/main" id="{74DCFB93-E27F-43B6-841D-5CEB316B2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0" y="187859"/>
            <a:ext cx="12413343" cy="409568"/>
          </a:xfrm>
        </p:spPr>
        <p:txBody>
          <a:bodyPr/>
          <a:lstStyle/>
          <a:p>
            <a:r>
              <a:rPr lang="en-GB" sz="2800" spc="100" dirty="0">
                <a:solidFill>
                  <a:schemeClr val="bg1"/>
                </a:solidFill>
              </a:rPr>
              <a:t>Cinema delivers at both an ‘emotional’ and a ‘rational’ level for 16-34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521780" y="2267608"/>
            <a:ext cx="8394292" cy="3918278"/>
            <a:chOff x="2610680" y="2031302"/>
            <a:chExt cx="8394292" cy="3918278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43AD7437-D0FE-784C-8367-D6F6C5FB1A8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342892759"/>
                </p:ext>
              </p:extLst>
            </p:nvPr>
          </p:nvGraphicFramePr>
          <p:xfrm>
            <a:off x="2610680" y="2927651"/>
            <a:ext cx="2152489" cy="302192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13" name="Chart 12">
              <a:extLst>
                <a:ext uri="{FF2B5EF4-FFF2-40B4-BE49-F238E27FC236}">
                  <a16:creationId xmlns:a16="http://schemas.microsoft.com/office/drawing/2014/main" id="{0D91C96E-0757-554B-A654-E8F49066BC3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43447008"/>
                </p:ext>
              </p:extLst>
            </p:nvPr>
          </p:nvGraphicFramePr>
          <p:xfrm>
            <a:off x="5762638" y="2927651"/>
            <a:ext cx="2152489" cy="302192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4" name="Chart 13">
              <a:extLst>
                <a:ext uri="{FF2B5EF4-FFF2-40B4-BE49-F238E27FC236}">
                  <a16:creationId xmlns:a16="http://schemas.microsoft.com/office/drawing/2014/main" id="{062F9653-BBFD-6B41-BDB9-D10348C16D3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858550557"/>
                </p:ext>
              </p:extLst>
            </p:nvPr>
          </p:nvGraphicFramePr>
          <p:xfrm>
            <a:off x="8852483" y="2927651"/>
            <a:ext cx="2152489" cy="302192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76A8019-05A8-F74D-9CC3-AB4E043EB3F3}"/>
                </a:ext>
              </a:extLst>
            </p:cNvPr>
            <p:cNvSpPr/>
            <p:nvPr/>
          </p:nvSpPr>
          <p:spPr>
            <a:xfrm>
              <a:off x="2610680" y="2039515"/>
              <a:ext cx="2152477" cy="670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8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‘Better impression’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BD8253C-B924-7742-9AFE-8042FB6A2CFF}"/>
                </a:ext>
              </a:extLst>
            </p:cNvPr>
            <p:cNvSpPr/>
            <p:nvPr/>
          </p:nvSpPr>
          <p:spPr>
            <a:xfrm>
              <a:off x="5762635" y="2031302"/>
              <a:ext cx="2152492" cy="670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8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‘Rational’ 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</a:b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brand perceptions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7B7D672-D425-4043-B5FB-7F135EAB8FB4}"/>
                </a:ext>
              </a:extLst>
            </p:cNvPr>
            <p:cNvSpPr/>
            <p:nvPr/>
          </p:nvSpPr>
          <p:spPr>
            <a:xfrm>
              <a:off x="8846380" y="2031302"/>
              <a:ext cx="2158592" cy="670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8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23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Helvetica" pitchFamily="2" charset="0"/>
                  <a:ea typeface="Helvetica" charset="0"/>
                  <a:cs typeface="Helvetica" charset="0"/>
                </a:rPr>
                <a:t>‘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Emotional’ 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</a:b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brand perceptions</a:t>
              </a:r>
            </a:p>
          </p:txBody>
        </p:sp>
        <p:sp>
          <p:nvSpPr>
            <p:cNvPr id="19" name="Title 1">
              <a:extLst>
                <a:ext uri="{FF2B5EF4-FFF2-40B4-BE49-F238E27FC236}">
                  <a16:creationId xmlns:a16="http://schemas.microsoft.com/office/drawing/2014/main" id="{0147C487-12EF-B847-9811-5603194D3F4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12066" y="2821256"/>
              <a:ext cx="1998691" cy="1081406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lvl1pPr algn="l" defTabSz="961844" rtl="0" eaLnBrk="1" latinLnBrk="0" hangingPunct="1">
                <a:spcBef>
                  <a:spcPct val="0"/>
                </a:spcBef>
                <a:buNone/>
                <a:defRPr sz="3600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106043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00" u="none" strike="noStrike" kern="1200" cap="none" spc="150" normalizeH="0" baseline="0" noProof="0" dirty="0">
                  <a:ln w="22225">
                    <a:noFill/>
                    <a:prstDash val="solid"/>
                  </a:ln>
                  <a:solidFill>
                    <a:schemeClr val="tx1"/>
                  </a:solidFill>
                  <a:effectLst/>
                  <a:uLnTx/>
                  <a:uFillTx/>
                  <a:latin typeface="Impact" charset="0"/>
                  <a:ea typeface="Impact" charset="0"/>
                  <a:cs typeface="Impact" charset="0"/>
                </a:rPr>
                <a:t>+30%</a:t>
              </a:r>
            </a:p>
          </p:txBody>
        </p:sp>
        <p:sp>
          <p:nvSpPr>
            <p:cNvPr id="20" name="Title 1">
              <a:extLst>
                <a:ext uri="{FF2B5EF4-FFF2-40B4-BE49-F238E27FC236}">
                  <a16:creationId xmlns:a16="http://schemas.microsoft.com/office/drawing/2014/main" id="{3A8F144A-2E4E-A343-B5BC-25D63AA6FEB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700527" y="2821256"/>
              <a:ext cx="2152487" cy="1081406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lvl1pPr algn="l" defTabSz="961844" rtl="0" eaLnBrk="1" latinLnBrk="0" hangingPunct="1">
                <a:spcBef>
                  <a:spcPct val="0"/>
                </a:spcBef>
                <a:buNone/>
                <a:defRPr sz="3600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106043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00" u="none" strike="noStrike" kern="1200" cap="none" spc="150" normalizeH="0" baseline="0" noProof="0" dirty="0">
                  <a:ln w="22225">
                    <a:noFill/>
                    <a:prstDash val="solid"/>
                  </a:ln>
                  <a:solidFill>
                    <a:schemeClr val="tx1"/>
                  </a:solidFill>
                  <a:effectLst/>
                  <a:uLnTx/>
                  <a:uFillTx/>
                  <a:latin typeface="Impact" charset="0"/>
                  <a:ea typeface="Impact" charset="0"/>
                  <a:cs typeface="Impact" charset="0"/>
                </a:rPr>
                <a:t>+42%</a:t>
              </a:r>
            </a:p>
          </p:txBody>
        </p:sp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A65CBA5F-26B5-184F-B1D7-5FD0E4207BE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790372" y="2821256"/>
              <a:ext cx="2152487" cy="1081406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lvl1pPr algn="l" defTabSz="961844" rtl="0" eaLnBrk="1" latinLnBrk="0" hangingPunct="1">
                <a:spcBef>
                  <a:spcPct val="0"/>
                </a:spcBef>
                <a:buNone/>
                <a:defRPr sz="3600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106043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500" u="none" strike="noStrike" kern="1200" cap="none" spc="150" normalizeH="0" baseline="0" noProof="0" dirty="0">
                  <a:ln w="22225">
                    <a:noFill/>
                    <a:prstDash val="solid"/>
                  </a:ln>
                  <a:solidFill>
                    <a:schemeClr val="tx1"/>
                  </a:solidFill>
                  <a:effectLst/>
                  <a:uLnTx/>
                  <a:uFillTx/>
                  <a:latin typeface="Impact" charset="0"/>
                  <a:ea typeface="Impact" charset="0"/>
                  <a:cs typeface="Impact" charset="0"/>
                </a:rPr>
                <a:t>+60%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E11754A1-8049-0D47-8907-978F136E3E52}"/>
              </a:ext>
            </a:extLst>
          </p:cNvPr>
          <p:cNvSpPr txBox="1"/>
          <p:nvPr/>
        </p:nvSpPr>
        <p:spPr>
          <a:xfrm>
            <a:off x="326591" y="1639551"/>
            <a:ext cx="554539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ta-analysis of 12 recent cinema campaigns </a:t>
            </a:r>
          </a:p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16-34 audience resul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2270AA5-EB7D-E748-852B-6084F6D25071}"/>
              </a:ext>
            </a:extLst>
          </p:cNvPr>
          <p:cNvSpPr/>
          <p:nvPr/>
        </p:nvSpPr>
        <p:spPr>
          <a:xfrm>
            <a:off x="3099290" y="7119620"/>
            <a:ext cx="1023702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ta-analysis consists of 12 campaigns from finance, travel, entertainment &amp; leisure, FMCG and charity sectors</a:t>
            </a:r>
          </a:p>
          <a:p>
            <a:pPr marL="0" marR="0" lvl="0" indent="0" algn="r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Rational brand perceptions include: ‘is value for money;, ‘is good quality’, ‘is in convenient locations for me’</a:t>
            </a:r>
          </a:p>
          <a:p>
            <a:pPr marL="0" marR="0" lvl="0" indent="0" algn="r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Emotional brand perceptions include: ‘is a brand I love’, ‘is a brand I’m passionate about, ‘is an inspirational brand’’. Top 3 agree scores for brand perceptions </a:t>
            </a:r>
          </a:p>
          <a:p>
            <a:pPr marL="0" marR="0" lvl="0" indent="0" algn="r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386A4A7-6C2A-4E1B-9A11-8DBE3A6E5AB3}"/>
              </a:ext>
            </a:extLst>
          </p:cNvPr>
          <p:cNvSpPr txBox="1"/>
          <p:nvPr/>
        </p:nvSpPr>
        <p:spPr>
          <a:xfrm>
            <a:off x="204766" y="610711"/>
            <a:ext cx="1186023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chemeClr val="bg1"/>
                </a:solidFill>
                <a:latin typeface="Arial"/>
              </a:rPr>
              <a:t>Cinema allows brands to successfully engage young audiences with campaigns, creating a better impression of the brand and ultimately landing rational and emotional messaging more convincingly than other channels. 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25" name="Picture 2" descr="C:\Users\RafalimananaL\Desktop\OUTILS\New MB logo - SEPT 16\PNG\PNG\Kantar_Millwardbrown_Small_Logo_BLACK_RGB.png">
            <a:extLst>
              <a:ext uri="{FF2B5EF4-FFF2-40B4-BE49-F238E27FC236}">
                <a16:creationId xmlns:a16="http://schemas.microsoft.com/office/drawing/2014/main" id="{C2A15A7D-577E-9E4C-A0B7-BA610AF0B0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6567" y="7210082"/>
            <a:ext cx="2112068" cy="168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9188612-4293-6948-AF38-104AF9D11441}"/>
              </a:ext>
            </a:extLst>
          </p:cNvPr>
          <p:cNvCxnSpPr>
            <a:cxnSpLocks/>
          </p:cNvCxnSpPr>
          <p:nvPr/>
        </p:nvCxnSpPr>
        <p:spPr>
          <a:xfrm flipV="1">
            <a:off x="1220738" y="7210082"/>
            <a:ext cx="0" cy="225062"/>
          </a:xfrm>
          <a:prstGeom prst="line">
            <a:avLst/>
          </a:prstGeom>
          <a:ln w="0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04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AA3BEE1C-1374-4274-A0B8-5B6B7842A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missable content = huge audiences = significant ratings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11D8E30-721B-4FAB-AF2B-1294904213A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33142" y="5107020"/>
            <a:ext cx="1862578" cy="15207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100" dirty="0">
                <a:solidFill>
                  <a:schemeClr val="bg2"/>
                </a:solidFill>
              </a:rPr>
              <a:t>Avengers: Endgame</a:t>
            </a:r>
          </a:p>
          <a:p>
            <a:pPr>
              <a:lnSpc>
                <a:spcPct val="100000"/>
              </a:lnSpc>
            </a:pPr>
            <a:r>
              <a:rPr lang="en-GB" sz="1100" dirty="0">
                <a:solidFill>
                  <a:schemeClr val="accent6"/>
                </a:solidFill>
              </a:rPr>
              <a:t>36 16-34 TVRs</a:t>
            </a:r>
            <a:endParaRPr lang="en-US" sz="1100" dirty="0">
              <a:solidFill>
                <a:schemeClr val="accent6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CFBE36B-19ED-4FB8-AC0C-23312729337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636262" y="5107020"/>
            <a:ext cx="1862578" cy="15207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100" dirty="0">
                <a:solidFill>
                  <a:schemeClr val="bg2"/>
                </a:solidFill>
              </a:rPr>
              <a:t>Joker</a:t>
            </a:r>
          </a:p>
          <a:p>
            <a:pPr>
              <a:lnSpc>
                <a:spcPct val="100000"/>
              </a:lnSpc>
            </a:pPr>
            <a:r>
              <a:rPr lang="en-GB" sz="1100" dirty="0">
                <a:solidFill>
                  <a:schemeClr val="accent6"/>
                </a:solidFill>
              </a:rPr>
              <a:t>30 16-34 TVRs</a:t>
            </a:r>
            <a:endParaRPr lang="en-US" sz="1100" dirty="0">
              <a:solidFill>
                <a:schemeClr val="accent6"/>
              </a:solidFill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AD8FC98-406B-4E39-A750-6ED79255829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739381" y="5107020"/>
            <a:ext cx="1862578" cy="152078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en-GB" sz="1100" dirty="0">
                <a:solidFill>
                  <a:srgbClr val="0099A8"/>
                </a:solidFill>
              </a:rPr>
              <a:t>Black Panther</a:t>
            </a:r>
          </a:p>
          <a:p>
            <a:pPr lvl="0">
              <a:lnSpc>
                <a:spcPct val="100000"/>
              </a:lnSpc>
            </a:pPr>
            <a:r>
              <a:rPr lang="en-GB" sz="1100" dirty="0">
                <a:solidFill>
                  <a:srgbClr val="8A8A8D"/>
                </a:solidFill>
              </a:rPr>
              <a:t>24 16-34 TVRs</a:t>
            </a:r>
            <a:endParaRPr lang="en-US" sz="1100" dirty="0">
              <a:solidFill>
                <a:srgbClr val="8A8A8D"/>
              </a:solidFill>
            </a:endParaRPr>
          </a:p>
          <a:p>
            <a:pPr>
              <a:lnSpc>
                <a:spcPct val="100000"/>
              </a:lnSpc>
            </a:pPr>
            <a:endParaRPr lang="en-US" sz="1100" dirty="0">
              <a:solidFill>
                <a:schemeClr val="accent6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9C8F375-616B-4CA7-B840-863B13EA5D3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842500" y="5107020"/>
            <a:ext cx="1862578" cy="152078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en-GB" sz="1100" dirty="0">
                <a:solidFill>
                  <a:srgbClr val="0099A8"/>
                </a:solidFill>
              </a:rPr>
              <a:t>The Lion King </a:t>
            </a:r>
          </a:p>
          <a:p>
            <a:pPr lvl="0">
              <a:lnSpc>
                <a:spcPct val="100000"/>
              </a:lnSpc>
            </a:pPr>
            <a:r>
              <a:rPr lang="en-GB" sz="1100" dirty="0">
                <a:solidFill>
                  <a:srgbClr val="8A8A8D"/>
                </a:solidFill>
              </a:rPr>
              <a:t>24 16-34 TVRs </a:t>
            </a:r>
            <a:endParaRPr lang="en-US" sz="1100" dirty="0">
              <a:solidFill>
                <a:srgbClr val="8A8A8D"/>
              </a:solidFill>
            </a:endParaRPr>
          </a:p>
          <a:p>
            <a:pPr>
              <a:lnSpc>
                <a:spcPct val="100000"/>
              </a:lnSpc>
            </a:pPr>
            <a:endParaRPr lang="en-US" sz="1100" dirty="0">
              <a:solidFill>
                <a:schemeClr val="accent6"/>
              </a:solidFill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BC17B4B-4451-4EE5-88FE-9DCDD098A3C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945617" y="5107020"/>
            <a:ext cx="1862578" cy="152078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en-GB" sz="1100" dirty="0">
                <a:solidFill>
                  <a:srgbClr val="0099A8"/>
                </a:solidFill>
              </a:rPr>
              <a:t>Beauty &amp; The Beast</a:t>
            </a:r>
          </a:p>
          <a:p>
            <a:pPr lvl="0">
              <a:lnSpc>
                <a:spcPct val="100000"/>
              </a:lnSpc>
            </a:pPr>
            <a:r>
              <a:rPr lang="en-GB" sz="1100" dirty="0">
                <a:solidFill>
                  <a:srgbClr val="8A8A8D"/>
                </a:solidFill>
              </a:rPr>
              <a:t>24 16-34 TVRs </a:t>
            </a:r>
            <a:endParaRPr lang="en-US" sz="1100" dirty="0">
              <a:solidFill>
                <a:srgbClr val="8A8A8D"/>
              </a:solidFill>
            </a:endParaRPr>
          </a:p>
          <a:p>
            <a:pPr>
              <a:lnSpc>
                <a:spcPct val="100000"/>
              </a:lnSpc>
            </a:pPr>
            <a:endParaRPr lang="en-US" sz="1100" dirty="0">
              <a:solidFill>
                <a:schemeClr val="accent6"/>
              </a:solidFill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1A1DC721-9BCC-4C63-8FCB-0AA58AD1A9A5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1048736" y="5107020"/>
            <a:ext cx="1862578" cy="152078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en-GB" sz="1100" dirty="0">
                <a:solidFill>
                  <a:srgbClr val="0099A8"/>
                </a:solidFill>
              </a:rPr>
              <a:t>Star Wars: The Last Jedi</a:t>
            </a:r>
          </a:p>
          <a:p>
            <a:pPr lvl="0">
              <a:lnSpc>
                <a:spcPct val="100000"/>
              </a:lnSpc>
            </a:pPr>
            <a:r>
              <a:rPr lang="en-GB" sz="1100" dirty="0">
                <a:solidFill>
                  <a:srgbClr val="8A8A8D"/>
                </a:solidFill>
              </a:rPr>
              <a:t>23 16-34 TVRs</a:t>
            </a:r>
            <a:endParaRPr lang="en-US" sz="1100" dirty="0">
              <a:solidFill>
                <a:srgbClr val="8A8A8D"/>
              </a:solidFill>
            </a:endParaRPr>
          </a:p>
          <a:p>
            <a:pPr>
              <a:lnSpc>
                <a:spcPct val="100000"/>
              </a:lnSpc>
            </a:pPr>
            <a:endParaRPr lang="en-US" sz="1100" dirty="0">
              <a:solidFill>
                <a:schemeClr val="accent6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2FCA9B-841C-43C0-A728-17BDE34FC7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27469" y="7190847"/>
            <a:ext cx="5271019" cy="243656"/>
          </a:xfrm>
        </p:spPr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DCM admissions cube.  Industry admissions based on contractor share.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2EA0687-C087-4C75-A086-D0B8F97A3A0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4" y="651956"/>
            <a:ext cx="11924584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Cinema provides high quality and unmissable content for 16-34s, amassing huge audiences and returning significant ratings for advertisers.     </a:t>
            </a:r>
            <a:endParaRPr lang="en-US" dirty="0"/>
          </a:p>
        </p:txBody>
      </p:sp>
      <p:pic>
        <p:nvPicPr>
          <p:cNvPr id="1408002" name="Picture 2" descr="http://images.mymovies.net/images/film/cin/550x820/fid19129.jpg">
            <a:extLst>
              <a:ext uri="{FF2B5EF4-FFF2-40B4-BE49-F238E27FC236}">
                <a16:creationId xmlns:a16="http://schemas.microsoft.com/office/drawing/2014/main" id="{A5BAEA25-A682-4222-9DE0-8D5AC942916E}"/>
              </a:ext>
            </a:extLst>
          </p:cNvPr>
          <p:cNvPicPr>
            <a:picLocks noGrp="1" noChangeAspect="1" noChangeArrowheads="1"/>
          </p:cNvPicPr>
          <p:nvPr>
            <p:ph type="pic" sz="quarter" idx="3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3" b="453"/>
          <a:stretch>
            <a:fillRect/>
          </a:stretch>
        </p:blipFill>
        <p:spPr bwMode="auto">
          <a:xfrm>
            <a:off x="533141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http://images.mymovies.net/images/film/cin/550x820/fid16502.jpg">
            <a:extLst>
              <a:ext uri="{FF2B5EF4-FFF2-40B4-BE49-F238E27FC236}">
                <a16:creationId xmlns:a16="http://schemas.microsoft.com/office/drawing/2014/main" id="{1D28D6EC-884F-4042-A131-E2805ED60816}"/>
              </a:ext>
            </a:extLst>
          </p:cNvPr>
          <p:cNvPicPr>
            <a:picLocks noGrp="1" noChangeAspect="1" noChangeArrowheads="1"/>
          </p:cNvPicPr>
          <p:nvPr>
            <p:ph type="pic" sz="quarter" idx="4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5" b="495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0" descr="http://images.mymovies.net/images/film/cin/550x820/fid16153.jpg">
            <a:extLst>
              <a:ext uri="{FF2B5EF4-FFF2-40B4-BE49-F238E27FC236}">
                <a16:creationId xmlns:a16="http://schemas.microsoft.com/office/drawing/2014/main" id="{82E4C783-AE3B-44FF-9DCE-478D93D51167}"/>
              </a:ext>
            </a:extLst>
          </p:cNvPr>
          <p:cNvPicPr>
            <a:picLocks noGrp="1" noChangeAspect="1" noChangeArrowheads="1"/>
          </p:cNvPicPr>
          <p:nvPr>
            <p:ph type="pic" sz="quarter" idx="49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3" b="453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E95870D7-F97D-42B6-8EA7-9F08B5309A9E}"/>
              </a:ext>
            </a:extLst>
          </p:cNvPr>
          <p:cNvPicPr>
            <a:picLocks noGrp="1" noChangeAspect="1"/>
          </p:cNvPicPr>
          <p:nvPr>
            <p:ph type="pic" sz="quarter" idx="43"/>
          </p:nvPr>
        </p:nvPicPr>
        <p:blipFill>
          <a:blip r:embed="rId6"/>
          <a:srcRect t="211" b="211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8" name="Picture 10" descr="http://mmdb.mymovies.net/source/fid17741/1sheet_payoff.jpg">
            <a:extLst>
              <a:ext uri="{FF2B5EF4-FFF2-40B4-BE49-F238E27FC236}">
                <a16:creationId xmlns:a16="http://schemas.microsoft.com/office/drawing/2014/main" id="{AE87DD03-BAE8-4D35-A00B-923D567E6252}"/>
              </a:ext>
            </a:extLst>
          </p:cNvPr>
          <p:cNvPicPr>
            <a:picLocks noGrp="1" noChangeAspect="1" noChangeArrowheads="1"/>
          </p:cNvPicPr>
          <p:nvPr>
            <p:ph type="pic" sz="quarter" idx="4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" b="85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Placeholder 16">
            <a:extLst>
              <a:ext uri="{FF2B5EF4-FFF2-40B4-BE49-F238E27FC236}">
                <a16:creationId xmlns:a16="http://schemas.microsoft.com/office/drawing/2014/main" id="{BB109047-BBF7-47B9-9993-F431E98F87FE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8"/>
          <a:srcRect t="211" b="211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421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63BAB9B-90CC-4A70-85CB-A60F965BC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 them with unmissable content in 2020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F691E94-CDC5-4414-938F-98CA8548E16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732704" y="3752667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A Quiet Place: Part II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268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B278B9-1341-445C-880C-3352D51F7A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96051" y="7190847"/>
            <a:ext cx="6802438" cy="243656"/>
          </a:xfrm>
        </p:spPr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DCM Aston campaign planner.  Index vs. % of 16-34 adult in UK population.  Based on Kantar TNS comparative film data   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AA96F5-0DD5-48B3-8E22-775B5A669E1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1358160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Reach and impact this key audience with a range of highly anticipated releases throughout 2020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E304C76-18F4-442E-A9D3-89EF27558B3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825367" y="3747689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Black Widow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91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733FC12-AB45-4D74-BE81-E865CB1D5C9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928486" y="3747689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Wonder Woman 1984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82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4503EA7-7994-4D40-AC47-ED3A841AFB4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042061" y="3745861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Tenet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233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C73AC181-D8BA-42AF-BE05-8CFDFCDCE6A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10134723" y="3752667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Venom 2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239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D631F20-A146-44F0-94A7-D83A4888A9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732704" y="6630511"/>
            <a:ext cx="1820121" cy="266284"/>
          </a:xfrm>
        </p:spPr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Mulan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84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9216D16-0F2F-45B2-AB2E-0221AD14A37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/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Fast &amp; Furious 9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209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CC1D12FD-5D26-4716-9D8F-1D2C97F14FB6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Top Gun: Maverick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76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4E0B1EA-9A7C-4AD1-8EFF-E69A354BD51A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8031605" y="6630511"/>
            <a:ext cx="1588595" cy="266284"/>
          </a:xfrm>
        </p:spPr>
        <p:txBody>
          <a:bodyPr/>
          <a:lstStyle/>
          <a:p>
            <a:pPr lvl="0"/>
            <a:r>
              <a:rPr lang="en-GB" dirty="0">
                <a:solidFill>
                  <a:srgbClr val="0099A8"/>
                </a:solidFill>
              </a:rPr>
              <a:t>The King’s Man</a:t>
            </a:r>
          </a:p>
          <a:p>
            <a:pPr lvl="0"/>
            <a:r>
              <a:rPr lang="en-GB" dirty="0">
                <a:solidFill>
                  <a:srgbClr val="8A8A8D">
                    <a:lumMod val="75000"/>
                  </a:srgbClr>
                </a:solidFill>
              </a:rPr>
              <a:t>203 index</a:t>
            </a:r>
            <a:endParaRPr lang="en-US" dirty="0">
              <a:solidFill>
                <a:srgbClr val="8A8A8D">
                  <a:lumMod val="75000"/>
                </a:srgb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CAFE6FD-17A5-4138-8E21-1C881C8058C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0134724" y="6630511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The Eternals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78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F3180B75-F788-4846-AD28-B1C15F870C2A}"/>
              </a:ext>
            </a:extLst>
          </p:cNvPr>
          <p:cNvPicPr>
            <a:picLocks noGrp="1" noChangeAspect="1"/>
          </p:cNvPicPr>
          <p:nvPr>
            <p:ph type="pic" sz="quarter" idx="34"/>
          </p:nvPr>
        </p:nvPicPr>
        <p:blipFill>
          <a:blip r:embed="rId3"/>
          <a:srcRect t="203" b="203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A8D8535F-8E07-49B7-87FB-09923EB173DD}"/>
              </a:ext>
            </a:extLst>
          </p:cNvPr>
          <p:cNvPicPr>
            <a:picLocks noGrp="1" noChangeAspect="1"/>
          </p:cNvPicPr>
          <p:nvPr>
            <p:ph type="pic" sz="quarter" idx="47"/>
          </p:nvPr>
        </p:nvPicPr>
        <p:blipFill>
          <a:blip r:embed="rId4"/>
          <a:srcRect l="19" r="19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45" name="Picture Placeholder 44">
            <a:extLst>
              <a:ext uri="{FF2B5EF4-FFF2-40B4-BE49-F238E27FC236}">
                <a16:creationId xmlns:a16="http://schemas.microsoft.com/office/drawing/2014/main" id="{15563800-AD2E-488C-91B2-FA340E899539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5"/>
          <a:srcRect t="110" b="110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43" name="Picture Placeholder 42">
            <a:extLst>
              <a:ext uri="{FF2B5EF4-FFF2-40B4-BE49-F238E27FC236}">
                <a16:creationId xmlns:a16="http://schemas.microsoft.com/office/drawing/2014/main" id="{E33134CA-01BE-4ABC-8729-134E4834AFDC}"/>
              </a:ext>
            </a:extLst>
          </p:cNvPr>
          <p:cNvPicPr>
            <a:picLocks noGrp="1" noChangeAspect="1"/>
          </p:cNvPicPr>
          <p:nvPr>
            <p:ph type="pic" sz="quarter" idx="48"/>
          </p:nvPr>
        </p:nvPicPr>
        <p:blipFill>
          <a:blip r:embed="rId6"/>
          <a:srcRect l="19" r="19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756140EF-959D-4730-B0C2-03335CFDB826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>
          <a:blip r:embed="rId7"/>
          <a:srcRect t="31" b="31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53" name="Picture Placeholder 52">
            <a:extLst>
              <a:ext uri="{FF2B5EF4-FFF2-40B4-BE49-F238E27FC236}">
                <a16:creationId xmlns:a16="http://schemas.microsoft.com/office/drawing/2014/main" id="{77E418F6-C11D-4639-94B2-59A9257B98A4}"/>
              </a:ext>
            </a:extLst>
          </p:cNvPr>
          <p:cNvPicPr>
            <a:picLocks noGrp="1" noChangeAspect="1"/>
          </p:cNvPicPr>
          <p:nvPr>
            <p:ph type="pic" sz="quarter" idx="49"/>
          </p:nvPr>
        </p:nvPicPr>
        <p:blipFill>
          <a:blip r:embed="rId8"/>
          <a:srcRect t="31" b="31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46" name="Picture Placeholder 45">
            <a:extLst>
              <a:ext uri="{FF2B5EF4-FFF2-40B4-BE49-F238E27FC236}">
                <a16:creationId xmlns:a16="http://schemas.microsoft.com/office/drawing/2014/main" id="{AEC4EAEC-F188-48F9-8A7F-3749CA942AE2}"/>
              </a:ext>
            </a:extLst>
          </p:cNvPr>
          <p:cNvPicPr>
            <a:picLocks noGrp="1" noChangeAspect="1"/>
          </p:cNvPicPr>
          <p:nvPr>
            <p:ph type="pic" sz="quarter" idx="43"/>
          </p:nvPr>
        </p:nvPicPr>
        <p:blipFill>
          <a:blip r:embed="rId9"/>
          <a:srcRect t="31" b="31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49" name="Picture Placeholder 48">
            <a:extLst>
              <a:ext uri="{FF2B5EF4-FFF2-40B4-BE49-F238E27FC236}">
                <a16:creationId xmlns:a16="http://schemas.microsoft.com/office/drawing/2014/main" id="{863484F3-2F97-40ED-ADC5-D249F4733F92}"/>
              </a:ext>
            </a:extLst>
          </p:cNvPr>
          <p:cNvPicPr>
            <a:picLocks noGrp="1" noChangeAspect="1"/>
          </p:cNvPicPr>
          <p:nvPr>
            <p:ph type="pic" sz="quarter" idx="51"/>
          </p:nvPr>
        </p:nvPicPr>
        <p:blipFill>
          <a:blip r:embed="rId10"/>
          <a:srcRect l="19" r="19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52" name="Picture Placeholder 51">
            <a:extLst>
              <a:ext uri="{FF2B5EF4-FFF2-40B4-BE49-F238E27FC236}">
                <a16:creationId xmlns:a16="http://schemas.microsoft.com/office/drawing/2014/main" id="{9009A85F-C0C6-48AE-9617-A4DB6E2AE0F5}"/>
              </a:ext>
            </a:extLst>
          </p:cNvPr>
          <p:cNvPicPr>
            <a:picLocks noGrp="1" noChangeAspect="1"/>
          </p:cNvPicPr>
          <p:nvPr>
            <p:ph type="pic" sz="quarter" idx="50"/>
          </p:nvPr>
        </p:nvPicPr>
        <p:blipFill>
          <a:blip r:embed="rId11"/>
          <a:srcRect t="1802" b="1802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48" name="Picture Placeholder 47">
            <a:extLst>
              <a:ext uri="{FF2B5EF4-FFF2-40B4-BE49-F238E27FC236}">
                <a16:creationId xmlns:a16="http://schemas.microsoft.com/office/drawing/2014/main" id="{ECCE0FFA-575A-4067-8099-818F99341666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12"/>
          <a:srcRect t="110" b="110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826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3747853" y="7176520"/>
            <a:ext cx="9549946" cy="27148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882" dirty="0"/>
              <a:t>Source: Thinkbox/IPA TouchPoints 2018. Base: 16-34s. </a:t>
            </a:r>
          </a:p>
          <a:p>
            <a:pPr>
              <a:lnSpc>
                <a:spcPct val="100000"/>
              </a:lnSpc>
            </a:pPr>
            <a:r>
              <a:rPr lang="en-US" sz="882" dirty="0"/>
              <a:t>Includes only media which people choose to consume. TV, radio, newspaper &amp; magazine figures including online/app consumption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16-34s </a:t>
            </a:r>
            <a:r>
              <a:rPr lang="en-US" dirty="0"/>
              <a:t>HAVE A DIVERSE MEDIA DAY</a:t>
            </a:r>
          </a:p>
        </p:txBody>
      </p:sp>
      <p:sp>
        <p:nvSpPr>
          <p:cNvPr id="34" name="Freeform 14"/>
          <p:cNvSpPr>
            <a:spLocks/>
          </p:cNvSpPr>
          <p:nvPr/>
        </p:nvSpPr>
        <p:spPr bwMode="auto">
          <a:xfrm>
            <a:off x="6365997" y="7608882"/>
            <a:ext cx="996845" cy="993671"/>
          </a:xfrm>
          <a:custGeom>
            <a:avLst/>
            <a:gdLst/>
            <a:ahLst/>
            <a:cxnLst>
              <a:cxn ang="0">
                <a:pos x="314" y="0"/>
              </a:cxn>
              <a:cxn ang="0">
                <a:pos x="250" y="6"/>
              </a:cxn>
              <a:cxn ang="0">
                <a:pos x="192" y="24"/>
              </a:cxn>
              <a:cxn ang="0">
                <a:pos x="138" y="54"/>
              </a:cxn>
              <a:cxn ang="0">
                <a:pos x="92" y="92"/>
              </a:cxn>
              <a:cxn ang="0">
                <a:pos x="54" y="138"/>
              </a:cxn>
              <a:cxn ang="0">
                <a:pos x="26" y="192"/>
              </a:cxn>
              <a:cxn ang="0">
                <a:pos x="8" y="250"/>
              </a:cxn>
              <a:cxn ang="0">
                <a:pos x="0" y="314"/>
              </a:cxn>
              <a:cxn ang="0">
                <a:pos x="2" y="346"/>
              </a:cxn>
              <a:cxn ang="0">
                <a:pos x="14" y="406"/>
              </a:cxn>
              <a:cxn ang="0">
                <a:pos x="38" y="462"/>
              </a:cxn>
              <a:cxn ang="0">
                <a:pos x="72" y="512"/>
              </a:cxn>
              <a:cxn ang="0">
                <a:pos x="114" y="556"/>
              </a:cxn>
              <a:cxn ang="0">
                <a:pos x="164" y="588"/>
              </a:cxn>
              <a:cxn ang="0">
                <a:pos x="220" y="612"/>
              </a:cxn>
              <a:cxn ang="0">
                <a:pos x="282" y="624"/>
              </a:cxn>
              <a:cxn ang="0">
                <a:pos x="314" y="626"/>
              </a:cxn>
              <a:cxn ang="0">
                <a:pos x="378" y="620"/>
              </a:cxn>
              <a:cxn ang="0">
                <a:pos x="436" y="602"/>
              </a:cxn>
              <a:cxn ang="0">
                <a:pos x="490" y="574"/>
              </a:cxn>
              <a:cxn ang="0">
                <a:pos x="536" y="534"/>
              </a:cxn>
              <a:cxn ang="0">
                <a:pos x="574" y="488"/>
              </a:cxn>
              <a:cxn ang="0">
                <a:pos x="602" y="436"/>
              </a:cxn>
              <a:cxn ang="0">
                <a:pos x="620" y="376"/>
              </a:cxn>
              <a:cxn ang="0">
                <a:pos x="628" y="314"/>
              </a:cxn>
              <a:cxn ang="0">
                <a:pos x="626" y="282"/>
              </a:cxn>
              <a:cxn ang="0">
                <a:pos x="614" y="220"/>
              </a:cxn>
              <a:cxn ang="0">
                <a:pos x="590" y="164"/>
              </a:cxn>
              <a:cxn ang="0">
                <a:pos x="556" y="114"/>
              </a:cxn>
              <a:cxn ang="0">
                <a:pos x="514" y="72"/>
              </a:cxn>
              <a:cxn ang="0">
                <a:pos x="464" y="38"/>
              </a:cxn>
              <a:cxn ang="0">
                <a:pos x="408" y="14"/>
              </a:cxn>
              <a:cxn ang="0">
                <a:pos x="346" y="2"/>
              </a:cxn>
            </a:cxnLst>
            <a:rect l="0" t="0" r="r" b="b"/>
            <a:pathLst>
              <a:path w="628" h="626">
                <a:moveTo>
                  <a:pt x="314" y="0"/>
                </a:moveTo>
                <a:lnTo>
                  <a:pt x="314" y="0"/>
                </a:lnTo>
                <a:lnTo>
                  <a:pt x="282" y="2"/>
                </a:lnTo>
                <a:lnTo>
                  <a:pt x="250" y="6"/>
                </a:lnTo>
                <a:lnTo>
                  <a:pt x="220" y="14"/>
                </a:lnTo>
                <a:lnTo>
                  <a:pt x="192" y="24"/>
                </a:lnTo>
                <a:lnTo>
                  <a:pt x="164" y="38"/>
                </a:lnTo>
                <a:lnTo>
                  <a:pt x="138" y="54"/>
                </a:lnTo>
                <a:lnTo>
                  <a:pt x="114" y="72"/>
                </a:lnTo>
                <a:lnTo>
                  <a:pt x="92" y="92"/>
                </a:lnTo>
                <a:lnTo>
                  <a:pt x="72" y="114"/>
                </a:lnTo>
                <a:lnTo>
                  <a:pt x="54" y="138"/>
                </a:lnTo>
                <a:lnTo>
                  <a:pt x="38" y="164"/>
                </a:lnTo>
                <a:lnTo>
                  <a:pt x="26" y="192"/>
                </a:lnTo>
                <a:lnTo>
                  <a:pt x="14" y="220"/>
                </a:lnTo>
                <a:lnTo>
                  <a:pt x="8" y="250"/>
                </a:lnTo>
                <a:lnTo>
                  <a:pt x="2" y="282"/>
                </a:lnTo>
                <a:lnTo>
                  <a:pt x="0" y="314"/>
                </a:lnTo>
                <a:lnTo>
                  <a:pt x="0" y="314"/>
                </a:lnTo>
                <a:lnTo>
                  <a:pt x="2" y="346"/>
                </a:lnTo>
                <a:lnTo>
                  <a:pt x="8" y="376"/>
                </a:lnTo>
                <a:lnTo>
                  <a:pt x="14" y="406"/>
                </a:lnTo>
                <a:lnTo>
                  <a:pt x="26" y="436"/>
                </a:lnTo>
                <a:lnTo>
                  <a:pt x="38" y="462"/>
                </a:lnTo>
                <a:lnTo>
                  <a:pt x="54" y="488"/>
                </a:lnTo>
                <a:lnTo>
                  <a:pt x="72" y="512"/>
                </a:lnTo>
                <a:lnTo>
                  <a:pt x="92" y="534"/>
                </a:lnTo>
                <a:lnTo>
                  <a:pt x="114" y="556"/>
                </a:lnTo>
                <a:lnTo>
                  <a:pt x="138" y="574"/>
                </a:lnTo>
                <a:lnTo>
                  <a:pt x="164" y="588"/>
                </a:lnTo>
                <a:lnTo>
                  <a:pt x="192" y="602"/>
                </a:lnTo>
                <a:lnTo>
                  <a:pt x="220" y="612"/>
                </a:lnTo>
                <a:lnTo>
                  <a:pt x="250" y="620"/>
                </a:lnTo>
                <a:lnTo>
                  <a:pt x="282" y="624"/>
                </a:lnTo>
                <a:lnTo>
                  <a:pt x="314" y="626"/>
                </a:lnTo>
                <a:lnTo>
                  <a:pt x="314" y="626"/>
                </a:lnTo>
                <a:lnTo>
                  <a:pt x="346" y="624"/>
                </a:lnTo>
                <a:lnTo>
                  <a:pt x="378" y="620"/>
                </a:lnTo>
                <a:lnTo>
                  <a:pt x="408" y="612"/>
                </a:lnTo>
                <a:lnTo>
                  <a:pt x="436" y="602"/>
                </a:lnTo>
                <a:lnTo>
                  <a:pt x="464" y="588"/>
                </a:lnTo>
                <a:lnTo>
                  <a:pt x="490" y="574"/>
                </a:lnTo>
                <a:lnTo>
                  <a:pt x="514" y="556"/>
                </a:lnTo>
                <a:lnTo>
                  <a:pt x="536" y="534"/>
                </a:lnTo>
                <a:lnTo>
                  <a:pt x="556" y="512"/>
                </a:lnTo>
                <a:lnTo>
                  <a:pt x="574" y="488"/>
                </a:lnTo>
                <a:lnTo>
                  <a:pt x="590" y="462"/>
                </a:lnTo>
                <a:lnTo>
                  <a:pt x="602" y="436"/>
                </a:lnTo>
                <a:lnTo>
                  <a:pt x="614" y="406"/>
                </a:lnTo>
                <a:lnTo>
                  <a:pt x="620" y="376"/>
                </a:lnTo>
                <a:lnTo>
                  <a:pt x="626" y="346"/>
                </a:lnTo>
                <a:lnTo>
                  <a:pt x="628" y="314"/>
                </a:lnTo>
                <a:lnTo>
                  <a:pt x="628" y="314"/>
                </a:lnTo>
                <a:lnTo>
                  <a:pt x="626" y="282"/>
                </a:lnTo>
                <a:lnTo>
                  <a:pt x="620" y="250"/>
                </a:lnTo>
                <a:lnTo>
                  <a:pt x="614" y="220"/>
                </a:lnTo>
                <a:lnTo>
                  <a:pt x="602" y="192"/>
                </a:lnTo>
                <a:lnTo>
                  <a:pt x="590" y="164"/>
                </a:lnTo>
                <a:lnTo>
                  <a:pt x="574" y="138"/>
                </a:lnTo>
                <a:lnTo>
                  <a:pt x="556" y="114"/>
                </a:lnTo>
                <a:lnTo>
                  <a:pt x="536" y="92"/>
                </a:lnTo>
                <a:lnTo>
                  <a:pt x="514" y="72"/>
                </a:lnTo>
                <a:lnTo>
                  <a:pt x="490" y="54"/>
                </a:lnTo>
                <a:lnTo>
                  <a:pt x="464" y="38"/>
                </a:lnTo>
                <a:lnTo>
                  <a:pt x="436" y="24"/>
                </a:lnTo>
                <a:lnTo>
                  <a:pt x="408" y="14"/>
                </a:lnTo>
                <a:lnTo>
                  <a:pt x="378" y="6"/>
                </a:lnTo>
                <a:lnTo>
                  <a:pt x="346" y="2"/>
                </a:lnTo>
                <a:lnTo>
                  <a:pt x="314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961569">
              <a:defRPr/>
            </a:pPr>
            <a:endParaRPr lang="en-GB">
              <a:solidFill>
                <a:srgbClr val="00BFD6"/>
              </a:solidFill>
              <a:latin typeface="Arial"/>
            </a:endParaRPr>
          </a:p>
        </p:txBody>
      </p:sp>
      <p:sp>
        <p:nvSpPr>
          <p:cNvPr id="36" name="Freeform 24"/>
          <p:cNvSpPr>
            <a:spLocks/>
          </p:cNvSpPr>
          <p:nvPr/>
        </p:nvSpPr>
        <p:spPr bwMode="auto">
          <a:xfrm>
            <a:off x="9586759" y="7608882"/>
            <a:ext cx="993671" cy="993671"/>
          </a:xfrm>
          <a:custGeom>
            <a:avLst/>
            <a:gdLst/>
            <a:ahLst/>
            <a:cxnLst>
              <a:cxn ang="0">
                <a:pos x="312" y="0"/>
              </a:cxn>
              <a:cxn ang="0">
                <a:pos x="250" y="6"/>
              </a:cxn>
              <a:cxn ang="0">
                <a:pos x="190" y="24"/>
              </a:cxn>
              <a:cxn ang="0">
                <a:pos x="138" y="54"/>
              </a:cxn>
              <a:cxn ang="0">
                <a:pos x="92" y="92"/>
              </a:cxn>
              <a:cxn ang="0">
                <a:pos x="52" y="138"/>
              </a:cxn>
              <a:cxn ang="0">
                <a:pos x="24" y="192"/>
              </a:cxn>
              <a:cxn ang="0">
                <a:pos x="6" y="250"/>
              </a:cxn>
              <a:cxn ang="0">
                <a:pos x="0" y="314"/>
              </a:cxn>
              <a:cxn ang="0">
                <a:pos x="2" y="346"/>
              </a:cxn>
              <a:cxn ang="0">
                <a:pos x="14" y="406"/>
              </a:cxn>
              <a:cxn ang="0">
                <a:pos x="38" y="462"/>
              </a:cxn>
              <a:cxn ang="0">
                <a:pos x="70" y="512"/>
              </a:cxn>
              <a:cxn ang="0">
                <a:pos x="114" y="556"/>
              </a:cxn>
              <a:cxn ang="0">
                <a:pos x="164" y="588"/>
              </a:cxn>
              <a:cxn ang="0">
                <a:pos x="220" y="612"/>
              </a:cxn>
              <a:cxn ang="0">
                <a:pos x="280" y="624"/>
              </a:cxn>
              <a:cxn ang="0">
                <a:pos x="312" y="626"/>
              </a:cxn>
              <a:cxn ang="0">
                <a:pos x="376" y="620"/>
              </a:cxn>
              <a:cxn ang="0">
                <a:pos x="434" y="602"/>
              </a:cxn>
              <a:cxn ang="0">
                <a:pos x="488" y="574"/>
              </a:cxn>
              <a:cxn ang="0">
                <a:pos x="534" y="534"/>
              </a:cxn>
              <a:cxn ang="0">
                <a:pos x="572" y="488"/>
              </a:cxn>
              <a:cxn ang="0">
                <a:pos x="602" y="436"/>
              </a:cxn>
              <a:cxn ang="0">
                <a:pos x="620" y="376"/>
              </a:cxn>
              <a:cxn ang="0">
                <a:pos x="626" y="314"/>
              </a:cxn>
              <a:cxn ang="0">
                <a:pos x="624" y="282"/>
              </a:cxn>
              <a:cxn ang="0">
                <a:pos x="612" y="220"/>
              </a:cxn>
              <a:cxn ang="0">
                <a:pos x="588" y="164"/>
              </a:cxn>
              <a:cxn ang="0">
                <a:pos x="554" y="114"/>
              </a:cxn>
              <a:cxn ang="0">
                <a:pos x="512" y="72"/>
              </a:cxn>
              <a:cxn ang="0">
                <a:pos x="462" y="38"/>
              </a:cxn>
              <a:cxn ang="0">
                <a:pos x="406" y="14"/>
              </a:cxn>
              <a:cxn ang="0">
                <a:pos x="344" y="2"/>
              </a:cxn>
            </a:cxnLst>
            <a:rect l="0" t="0" r="r" b="b"/>
            <a:pathLst>
              <a:path w="626" h="626">
                <a:moveTo>
                  <a:pt x="312" y="0"/>
                </a:moveTo>
                <a:lnTo>
                  <a:pt x="312" y="0"/>
                </a:lnTo>
                <a:lnTo>
                  <a:pt x="280" y="2"/>
                </a:lnTo>
                <a:lnTo>
                  <a:pt x="250" y="6"/>
                </a:lnTo>
                <a:lnTo>
                  <a:pt x="220" y="14"/>
                </a:lnTo>
                <a:lnTo>
                  <a:pt x="190" y="24"/>
                </a:lnTo>
                <a:lnTo>
                  <a:pt x="164" y="38"/>
                </a:lnTo>
                <a:lnTo>
                  <a:pt x="138" y="54"/>
                </a:lnTo>
                <a:lnTo>
                  <a:pt x="114" y="72"/>
                </a:lnTo>
                <a:lnTo>
                  <a:pt x="92" y="92"/>
                </a:lnTo>
                <a:lnTo>
                  <a:pt x="70" y="114"/>
                </a:lnTo>
                <a:lnTo>
                  <a:pt x="52" y="138"/>
                </a:lnTo>
                <a:lnTo>
                  <a:pt x="38" y="164"/>
                </a:lnTo>
                <a:lnTo>
                  <a:pt x="24" y="192"/>
                </a:lnTo>
                <a:lnTo>
                  <a:pt x="14" y="220"/>
                </a:lnTo>
                <a:lnTo>
                  <a:pt x="6" y="250"/>
                </a:lnTo>
                <a:lnTo>
                  <a:pt x="2" y="282"/>
                </a:lnTo>
                <a:lnTo>
                  <a:pt x="0" y="314"/>
                </a:lnTo>
                <a:lnTo>
                  <a:pt x="0" y="314"/>
                </a:lnTo>
                <a:lnTo>
                  <a:pt x="2" y="346"/>
                </a:lnTo>
                <a:lnTo>
                  <a:pt x="6" y="376"/>
                </a:lnTo>
                <a:lnTo>
                  <a:pt x="14" y="406"/>
                </a:lnTo>
                <a:lnTo>
                  <a:pt x="24" y="436"/>
                </a:lnTo>
                <a:lnTo>
                  <a:pt x="38" y="462"/>
                </a:lnTo>
                <a:lnTo>
                  <a:pt x="52" y="488"/>
                </a:lnTo>
                <a:lnTo>
                  <a:pt x="70" y="512"/>
                </a:lnTo>
                <a:lnTo>
                  <a:pt x="92" y="534"/>
                </a:lnTo>
                <a:lnTo>
                  <a:pt x="114" y="556"/>
                </a:lnTo>
                <a:lnTo>
                  <a:pt x="138" y="574"/>
                </a:lnTo>
                <a:lnTo>
                  <a:pt x="164" y="588"/>
                </a:lnTo>
                <a:lnTo>
                  <a:pt x="190" y="602"/>
                </a:lnTo>
                <a:lnTo>
                  <a:pt x="220" y="612"/>
                </a:lnTo>
                <a:lnTo>
                  <a:pt x="250" y="620"/>
                </a:lnTo>
                <a:lnTo>
                  <a:pt x="280" y="624"/>
                </a:lnTo>
                <a:lnTo>
                  <a:pt x="312" y="626"/>
                </a:lnTo>
                <a:lnTo>
                  <a:pt x="312" y="626"/>
                </a:lnTo>
                <a:lnTo>
                  <a:pt x="344" y="624"/>
                </a:lnTo>
                <a:lnTo>
                  <a:pt x="376" y="620"/>
                </a:lnTo>
                <a:lnTo>
                  <a:pt x="406" y="612"/>
                </a:lnTo>
                <a:lnTo>
                  <a:pt x="434" y="602"/>
                </a:lnTo>
                <a:lnTo>
                  <a:pt x="462" y="588"/>
                </a:lnTo>
                <a:lnTo>
                  <a:pt x="488" y="574"/>
                </a:lnTo>
                <a:lnTo>
                  <a:pt x="512" y="556"/>
                </a:lnTo>
                <a:lnTo>
                  <a:pt x="534" y="534"/>
                </a:lnTo>
                <a:lnTo>
                  <a:pt x="554" y="512"/>
                </a:lnTo>
                <a:lnTo>
                  <a:pt x="572" y="488"/>
                </a:lnTo>
                <a:lnTo>
                  <a:pt x="588" y="462"/>
                </a:lnTo>
                <a:lnTo>
                  <a:pt x="602" y="436"/>
                </a:lnTo>
                <a:lnTo>
                  <a:pt x="612" y="406"/>
                </a:lnTo>
                <a:lnTo>
                  <a:pt x="620" y="376"/>
                </a:lnTo>
                <a:lnTo>
                  <a:pt x="624" y="346"/>
                </a:lnTo>
                <a:lnTo>
                  <a:pt x="626" y="314"/>
                </a:lnTo>
                <a:lnTo>
                  <a:pt x="626" y="314"/>
                </a:lnTo>
                <a:lnTo>
                  <a:pt x="624" y="282"/>
                </a:lnTo>
                <a:lnTo>
                  <a:pt x="620" y="250"/>
                </a:lnTo>
                <a:lnTo>
                  <a:pt x="612" y="220"/>
                </a:lnTo>
                <a:lnTo>
                  <a:pt x="602" y="192"/>
                </a:lnTo>
                <a:lnTo>
                  <a:pt x="588" y="164"/>
                </a:lnTo>
                <a:lnTo>
                  <a:pt x="572" y="138"/>
                </a:lnTo>
                <a:lnTo>
                  <a:pt x="554" y="114"/>
                </a:lnTo>
                <a:lnTo>
                  <a:pt x="534" y="92"/>
                </a:lnTo>
                <a:lnTo>
                  <a:pt x="512" y="72"/>
                </a:lnTo>
                <a:lnTo>
                  <a:pt x="488" y="54"/>
                </a:lnTo>
                <a:lnTo>
                  <a:pt x="462" y="38"/>
                </a:lnTo>
                <a:lnTo>
                  <a:pt x="434" y="24"/>
                </a:lnTo>
                <a:lnTo>
                  <a:pt x="406" y="14"/>
                </a:lnTo>
                <a:lnTo>
                  <a:pt x="376" y="6"/>
                </a:lnTo>
                <a:lnTo>
                  <a:pt x="344" y="2"/>
                </a:lnTo>
                <a:lnTo>
                  <a:pt x="31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961569">
              <a:defRPr/>
            </a:pPr>
            <a:endParaRPr lang="en-GB">
              <a:solidFill>
                <a:srgbClr val="00BFD6"/>
              </a:solidFill>
              <a:latin typeface="Arial"/>
            </a:endParaRPr>
          </a:p>
        </p:txBody>
      </p:sp>
      <p:sp>
        <p:nvSpPr>
          <p:cNvPr id="33" name="Text Placeholder 15"/>
          <p:cNvSpPr>
            <a:spLocks noGrp="1"/>
          </p:cNvSpPr>
          <p:nvPr>
            <p:ph type="body" sz="quarter" idx="4294967295"/>
          </p:nvPr>
        </p:nvSpPr>
        <p:spPr>
          <a:xfrm>
            <a:off x="286383" y="600395"/>
            <a:ext cx="6442406" cy="436562"/>
          </a:xfrm>
          <a:prstGeom prst="rect">
            <a:avLst/>
          </a:prstGeom>
        </p:spPr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n-US" sz="1400" dirty="0">
                <a:solidFill>
                  <a:schemeClr val="accent6"/>
                </a:solidFill>
              </a:rPr>
              <a:t>Media consumption for younger audiences is particularly fragmented – cinema is part of a expansive mix of media consumed by this audienc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67477" y="1534522"/>
            <a:ext cx="12707997" cy="4806729"/>
            <a:chOff x="326349" y="1258236"/>
            <a:chExt cx="11526044" cy="4359662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9486B47-44E7-450B-9718-DC478B36930F}"/>
                </a:ext>
              </a:extLst>
            </p:cNvPr>
            <p:cNvSpPr/>
            <p:nvPr/>
          </p:nvSpPr>
          <p:spPr>
            <a:xfrm>
              <a:off x="4654004" y="1258237"/>
              <a:ext cx="1441999" cy="218635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1706"/>
              <a:endParaRPr lang="en-GB" sz="2095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DA17110-3334-4C37-B0CD-49B1620D94A1}"/>
                </a:ext>
              </a:extLst>
            </p:cNvPr>
            <p:cNvSpPr/>
            <p:nvPr/>
          </p:nvSpPr>
          <p:spPr>
            <a:xfrm>
              <a:off x="3233183" y="4141659"/>
              <a:ext cx="2158827" cy="1453371"/>
            </a:xfrm>
            <a:prstGeom prst="rect">
              <a:avLst/>
            </a:prstGeom>
            <a:solidFill>
              <a:srgbClr val="FB3449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1706"/>
              <a:endParaRPr lang="en-GB" sz="2095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23FDC51-8FA4-414F-AD46-BDE042C28B79}"/>
                </a:ext>
              </a:extLst>
            </p:cNvPr>
            <p:cNvSpPr/>
            <p:nvPr/>
          </p:nvSpPr>
          <p:spPr>
            <a:xfrm>
              <a:off x="3216072" y="5180516"/>
              <a:ext cx="6095680" cy="36039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defTabSz="961706"/>
              <a:r>
                <a:rPr lang="en-GB" sz="1100" b="1" dirty="0">
                  <a:solidFill>
                    <a:srgbClr val="FFFFFF"/>
                  </a:solidFill>
                  <a:latin typeface="Arial"/>
                </a:rPr>
                <a:t>Streamed music</a:t>
              </a:r>
            </a:p>
            <a:p>
              <a:pPr defTabSz="961706"/>
              <a:r>
                <a:rPr lang="en-GB" sz="882" dirty="0">
                  <a:solidFill>
                    <a:srgbClr val="FFFFFF"/>
                  </a:solidFill>
                  <a:latin typeface="Arial"/>
                </a:rPr>
                <a:t>5%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D7E1A5C-C94E-42FC-AB01-DC0A2BD42C2A}"/>
                </a:ext>
              </a:extLst>
            </p:cNvPr>
            <p:cNvSpPr/>
            <p:nvPr/>
          </p:nvSpPr>
          <p:spPr>
            <a:xfrm>
              <a:off x="6818385" y="5293746"/>
              <a:ext cx="709320" cy="30128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1706"/>
              <a:endParaRPr lang="en-GB" sz="2095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55932EB-671C-4C9A-94B0-E6DC6B407C3A}"/>
                </a:ext>
              </a:extLst>
            </p:cNvPr>
            <p:cNvSpPr/>
            <p:nvPr/>
          </p:nvSpPr>
          <p:spPr>
            <a:xfrm rot="16200000">
              <a:off x="5383959" y="4151216"/>
              <a:ext cx="1438438" cy="144919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1706"/>
              <a:endParaRPr lang="en-GB" sz="2095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6A90AD7-1A50-41BE-A74E-43F02D330F43}"/>
                </a:ext>
              </a:extLst>
            </p:cNvPr>
            <p:cNvSpPr/>
            <p:nvPr/>
          </p:nvSpPr>
          <p:spPr>
            <a:xfrm>
              <a:off x="342899" y="1259570"/>
              <a:ext cx="4318776" cy="289568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1706"/>
              <a:endParaRPr lang="en-GB" sz="2095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DCAB52D-4BE2-4964-BA3F-939DA5641385}"/>
                </a:ext>
              </a:extLst>
            </p:cNvPr>
            <p:cNvSpPr txBox="1"/>
            <p:nvPr/>
          </p:nvSpPr>
          <p:spPr>
            <a:xfrm>
              <a:off x="332866" y="1258943"/>
              <a:ext cx="3774838" cy="514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961706"/>
              <a:r>
                <a:rPr lang="en-GB" sz="1103" b="1" dirty="0">
                  <a:solidFill>
                    <a:srgbClr val="FFFFFF"/>
                  </a:solidFill>
                  <a:latin typeface="Arial"/>
                </a:rPr>
                <a:t>Any broadcast TV</a:t>
              </a:r>
            </a:p>
            <a:p>
              <a:pPr defTabSz="961706"/>
              <a:r>
                <a:rPr lang="en-GB" sz="1103" b="1" dirty="0">
                  <a:solidFill>
                    <a:srgbClr val="FFFFFF"/>
                  </a:solidFill>
                  <a:latin typeface="Arial"/>
                </a:rPr>
                <a:t>(Live, recorded or BVOD)</a:t>
              </a:r>
            </a:p>
            <a:p>
              <a:pPr defTabSz="961706"/>
              <a:r>
                <a:rPr lang="en-GB" sz="882" dirty="0">
                  <a:solidFill>
                    <a:srgbClr val="FFFFFF"/>
                  </a:solidFill>
                  <a:latin typeface="Arial"/>
                </a:rPr>
                <a:t>21%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C739E06C-B63D-4093-A0C2-49290FAC3096}"/>
                </a:ext>
              </a:extLst>
            </p:cNvPr>
            <p:cNvSpPr/>
            <p:nvPr/>
          </p:nvSpPr>
          <p:spPr>
            <a:xfrm>
              <a:off x="6827771" y="1258236"/>
              <a:ext cx="5024622" cy="21707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1706"/>
              <a:endParaRPr lang="en-GB" sz="2095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D3519355-4D1A-4DFF-B130-A33A26D759A9}"/>
                </a:ext>
              </a:extLst>
            </p:cNvPr>
            <p:cNvSpPr/>
            <p:nvPr/>
          </p:nvSpPr>
          <p:spPr>
            <a:xfrm>
              <a:off x="6096004" y="1258236"/>
              <a:ext cx="775560" cy="145872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1706"/>
              <a:endParaRPr lang="en-GB" sz="2095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51AD4F8A-9F12-4E86-A282-083C5191E2DD}"/>
                </a:ext>
              </a:extLst>
            </p:cNvPr>
            <p:cNvSpPr txBox="1"/>
            <p:nvPr/>
          </p:nvSpPr>
          <p:spPr>
            <a:xfrm>
              <a:off x="6072996" y="1258943"/>
              <a:ext cx="1190385" cy="3608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961706"/>
              <a:r>
                <a:rPr lang="en-GB" sz="1103" b="1" dirty="0">
                  <a:solidFill>
                    <a:srgbClr val="FFFFFF"/>
                  </a:solidFill>
                  <a:latin typeface="Arial"/>
                </a:rPr>
                <a:t>Social media</a:t>
              </a:r>
            </a:p>
            <a:p>
              <a:pPr defTabSz="961706"/>
              <a:r>
                <a:rPr lang="en-GB" sz="882" dirty="0">
                  <a:solidFill>
                    <a:srgbClr val="FFFFFF"/>
                  </a:solidFill>
                  <a:latin typeface="Arial"/>
                </a:rPr>
                <a:t>24%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365CDA66-1E57-44A8-908E-A978AC39828C}"/>
                </a:ext>
              </a:extLst>
            </p:cNvPr>
            <p:cNvSpPr/>
            <p:nvPr/>
          </p:nvSpPr>
          <p:spPr>
            <a:xfrm>
              <a:off x="6763009" y="5257096"/>
              <a:ext cx="794156" cy="3608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61706"/>
              <a:r>
                <a:rPr lang="en-GB" sz="1103" b="1" dirty="0">
                  <a:solidFill>
                    <a:srgbClr val="000000"/>
                  </a:solidFill>
                  <a:latin typeface="Arial"/>
                </a:rPr>
                <a:t>Cinema</a:t>
              </a:r>
            </a:p>
            <a:p>
              <a:pPr defTabSz="961706"/>
              <a:r>
                <a:rPr lang="en-GB" sz="882" dirty="0">
                  <a:solidFill>
                    <a:srgbClr val="000000"/>
                  </a:solidFill>
                  <a:latin typeface="Arial"/>
                </a:rPr>
                <a:t>0.5%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9DA1B87-01C0-44E6-BD51-6DD8A65CAD77}"/>
                </a:ext>
              </a:extLst>
            </p:cNvPr>
            <p:cNvSpPr/>
            <p:nvPr/>
          </p:nvSpPr>
          <p:spPr>
            <a:xfrm>
              <a:off x="3938120" y="3414594"/>
              <a:ext cx="2889650" cy="7419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1706"/>
              <a:endParaRPr lang="en-GB" sz="2095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2837265B-13EF-4F2F-B6BD-7ADB2CB490E6}"/>
                </a:ext>
              </a:extLst>
            </p:cNvPr>
            <p:cNvSpPr txBox="1"/>
            <p:nvPr/>
          </p:nvSpPr>
          <p:spPr>
            <a:xfrm>
              <a:off x="3945490" y="3416429"/>
              <a:ext cx="1262662" cy="3608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961706"/>
              <a:r>
                <a:rPr lang="en-GB" sz="1103" b="1" dirty="0">
                  <a:solidFill>
                    <a:srgbClr val="FFFFFF"/>
                  </a:solidFill>
                  <a:latin typeface="Arial"/>
                </a:rPr>
                <a:t>Any radio</a:t>
              </a:r>
            </a:p>
            <a:p>
              <a:pPr defTabSz="961706"/>
              <a:r>
                <a:rPr lang="en-GB" sz="882" dirty="0">
                  <a:solidFill>
                    <a:srgbClr val="FFFFFF"/>
                  </a:solidFill>
                  <a:latin typeface="Arial"/>
                </a:rPr>
                <a:t>9%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7D69C16-D1F5-4176-A605-4BFE39F814A5}"/>
                </a:ext>
              </a:extLst>
            </p:cNvPr>
            <p:cNvGrpSpPr/>
            <p:nvPr/>
          </p:nvGrpSpPr>
          <p:grpSpPr>
            <a:xfrm>
              <a:off x="6770499" y="4863314"/>
              <a:ext cx="1014284" cy="430431"/>
              <a:chOff x="6770535" y="4863388"/>
              <a:chExt cx="1014337" cy="430453"/>
            </a:xfrm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54EA7E29-1FA7-4353-B09E-33FBDA091AA4}"/>
                  </a:ext>
                </a:extLst>
              </p:cNvPr>
              <p:cNvSpPr/>
              <p:nvPr/>
            </p:nvSpPr>
            <p:spPr>
              <a:xfrm>
                <a:off x="6823241" y="4884915"/>
                <a:ext cx="705888" cy="40892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61706"/>
                <a:endParaRPr lang="en-GB" sz="2095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006D689F-877A-4C86-93A1-426706A35CE8}"/>
                  </a:ext>
                </a:extLst>
              </p:cNvPr>
              <p:cNvSpPr txBox="1"/>
              <p:nvPr/>
            </p:nvSpPr>
            <p:spPr>
              <a:xfrm>
                <a:off x="6770535" y="4863388"/>
                <a:ext cx="1014337" cy="36082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rtlCol="0">
                <a:spAutoFit/>
              </a:bodyPr>
              <a:lstStyle/>
              <a:p>
                <a:pPr defTabSz="961706"/>
                <a:r>
                  <a:rPr lang="en-GB" sz="1103" b="1" dirty="0">
                    <a:solidFill>
                      <a:srgbClr val="FFFFFF"/>
                    </a:solidFill>
                    <a:latin typeface="Arial"/>
                  </a:rPr>
                  <a:t>Magazines</a:t>
                </a:r>
              </a:p>
              <a:p>
                <a:pPr defTabSz="961706"/>
                <a:r>
                  <a:rPr lang="en-GB" sz="882" dirty="0">
                    <a:solidFill>
                      <a:srgbClr val="FFFFFF"/>
                    </a:solidFill>
                    <a:latin typeface="Arial"/>
                  </a:rPr>
                  <a:t>0.6%</a:t>
                </a:r>
              </a:p>
            </p:txBody>
          </p:sp>
        </p:grp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BB01806E-324B-4975-871F-549C82FEC384}"/>
                </a:ext>
              </a:extLst>
            </p:cNvPr>
            <p:cNvSpPr/>
            <p:nvPr/>
          </p:nvSpPr>
          <p:spPr>
            <a:xfrm>
              <a:off x="7526474" y="3414593"/>
              <a:ext cx="4325918" cy="21804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1706"/>
              <a:endParaRPr lang="en-GB" sz="2095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B3191311-EAEC-484A-9426-9A273F06A638}"/>
                </a:ext>
              </a:extLst>
            </p:cNvPr>
            <p:cNvSpPr txBox="1"/>
            <p:nvPr/>
          </p:nvSpPr>
          <p:spPr>
            <a:xfrm>
              <a:off x="7521655" y="3416429"/>
              <a:ext cx="2164644" cy="3608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961706"/>
              <a:r>
                <a:rPr lang="en-GB" sz="1103" b="1" dirty="0">
                  <a:solidFill>
                    <a:srgbClr val="FFFFFF"/>
                  </a:solidFill>
                  <a:latin typeface="Arial"/>
                </a:rPr>
                <a:t>Messaging services</a:t>
              </a:r>
            </a:p>
            <a:p>
              <a:pPr defTabSz="961706"/>
              <a:r>
                <a:rPr lang="en-GB" sz="882" dirty="0">
                  <a:solidFill>
                    <a:srgbClr val="FFFFFF"/>
                  </a:solidFill>
                  <a:latin typeface="Arial"/>
                </a:rPr>
                <a:t>19%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F44B38A-C8CC-48D0-A14B-8D5DA9A78DC8}"/>
                </a:ext>
              </a:extLst>
            </p:cNvPr>
            <p:cNvSpPr txBox="1"/>
            <p:nvPr/>
          </p:nvSpPr>
          <p:spPr>
            <a:xfrm>
              <a:off x="4630801" y="1258943"/>
              <a:ext cx="1488403" cy="3608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961706"/>
              <a:r>
                <a:rPr lang="en-GB" sz="1103" b="1" dirty="0">
                  <a:solidFill>
                    <a:srgbClr val="FFFFFF"/>
                  </a:solidFill>
                  <a:latin typeface="Arial"/>
                </a:rPr>
                <a:t>Internet browsing</a:t>
              </a:r>
            </a:p>
            <a:p>
              <a:pPr defTabSz="961706"/>
              <a:r>
                <a:rPr lang="en-GB" sz="882" dirty="0">
                  <a:solidFill>
                    <a:srgbClr val="FFFFFF"/>
                  </a:solidFill>
                  <a:latin typeface="Arial"/>
                </a:rPr>
                <a:t>7%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E8AA06A2-457C-4855-A5C2-45FA63464A89}"/>
                </a:ext>
              </a:extLst>
            </p:cNvPr>
            <p:cNvSpPr/>
            <p:nvPr/>
          </p:nvSpPr>
          <p:spPr>
            <a:xfrm>
              <a:off x="6096003" y="2710491"/>
              <a:ext cx="731764" cy="70410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1706"/>
              <a:endParaRPr lang="en-GB" sz="2095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4DB6B59-42D7-42E0-B7E6-6F134E14D9D9}"/>
                </a:ext>
              </a:extLst>
            </p:cNvPr>
            <p:cNvGrpSpPr/>
            <p:nvPr/>
          </p:nvGrpSpPr>
          <p:grpSpPr>
            <a:xfrm>
              <a:off x="326349" y="4155259"/>
              <a:ext cx="2906834" cy="1440271"/>
              <a:chOff x="326046" y="4155278"/>
              <a:chExt cx="2906986" cy="1460150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65634C62-B5A3-436D-A4C3-825EF238A277}"/>
                  </a:ext>
                </a:extLst>
              </p:cNvPr>
              <p:cNvGrpSpPr/>
              <p:nvPr/>
            </p:nvGrpSpPr>
            <p:grpSpPr>
              <a:xfrm>
                <a:off x="342597" y="4155278"/>
                <a:ext cx="2890435" cy="1460150"/>
                <a:chOff x="342597" y="4155278"/>
                <a:chExt cx="2890435" cy="1460150"/>
              </a:xfrm>
            </p:grpSpPr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A3DD63A8-DF5B-4EC4-BDF5-FBE4F86018DE}"/>
                    </a:ext>
                  </a:extLst>
                </p:cNvPr>
                <p:cNvSpPr/>
                <p:nvPr/>
              </p:nvSpPr>
              <p:spPr>
                <a:xfrm>
                  <a:off x="2493832" y="4865646"/>
                  <a:ext cx="739200" cy="749276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61706"/>
                  <a:endParaRPr lang="en-GB" sz="2095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F739EAA8-E421-409D-8A3E-A9C4CAA43C11}"/>
                    </a:ext>
                  </a:extLst>
                </p:cNvPr>
                <p:cNvSpPr/>
                <p:nvPr/>
              </p:nvSpPr>
              <p:spPr>
                <a:xfrm>
                  <a:off x="342597" y="4155278"/>
                  <a:ext cx="2151235" cy="1460150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61706"/>
                  <a:endParaRPr lang="en-GB" sz="2095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ED98FBCA-5B21-4B28-B49D-F148BBFC1AF8}"/>
                  </a:ext>
                </a:extLst>
              </p:cNvPr>
              <p:cNvSpPr txBox="1"/>
              <p:nvPr/>
            </p:nvSpPr>
            <p:spPr>
              <a:xfrm>
                <a:off x="326046" y="4169881"/>
                <a:ext cx="1783910" cy="36578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defTabSz="961706"/>
                <a:r>
                  <a:rPr lang="en-GB" sz="1103" b="1" dirty="0">
                    <a:solidFill>
                      <a:srgbClr val="FFFFFF"/>
                    </a:solidFill>
                    <a:latin typeface="Arial"/>
                  </a:rPr>
                  <a:t>SVOD</a:t>
                </a:r>
              </a:p>
              <a:p>
                <a:pPr defTabSz="961706"/>
                <a:r>
                  <a:rPr lang="en-GB" sz="882" dirty="0">
                    <a:solidFill>
                      <a:srgbClr val="FFFFFF"/>
                    </a:solidFill>
                    <a:latin typeface="Arial"/>
                  </a:rPr>
                  <a:t>8%</a:t>
                </a:r>
              </a:p>
            </p:txBody>
          </p:sp>
        </p:grp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C259D5FF-AC5F-42EF-ADCD-E2DF7405D820}"/>
                </a:ext>
              </a:extLst>
            </p:cNvPr>
            <p:cNvSpPr/>
            <p:nvPr/>
          </p:nvSpPr>
          <p:spPr>
            <a:xfrm>
              <a:off x="1785208" y="3414595"/>
              <a:ext cx="757555" cy="74199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1706"/>
              <a:endParaRPr lang="en-GB" sz="2095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F704876A-229B-49E2-B46F-E3962BA89FDB}"/>
                </a:ext>
              </a:extLst>
            </p:cNvPr>
            <p:cNvSpPr/>
            <p:nvPr/>
          </p:nvSpPr>
          <p:spPr>
            <a:xfrm>
              <a:off x="2494024" y="3414595"/>
              <a:ext cx="1444096" cy="145399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1706"/>
              <a:endParaRPr lang="en-GB" sz="2095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3EA4343-6AB8-4632-9349-0DC3B7377A26}"/>
                </a:ext>
              </a:extLst>
            </p:cNvPr>
            <p:cNvSpPr txBox="1"/>
            <p:nvPr/>
          </p:nvSpPr>
          <p:spPr>
            <a:xfrm>
              <a:off x="1750533" y="3416429"/>
              <a:ext cx="2146673" cy="514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961706"/>
              <a:r>
                <a:rPr lang="en-GB" sz="1103" b="1" dirty="0">
                  <a:solidFill>
                    <a:srgbClr val="FFFFFF"/>
                  </a:solidFill>
                  <a:latin typeface="Arial"/>
                </a:rPr>
                <a:t>Other online video</a:t>
              </a:r>
            </a:p>
            <a:p>
              <a:pPr defTabSz="961706"/>
              <a:r>
                <a:rPr lang="en-GB" sz="1103" b="1" dirty="0">
                  <a:solidFill>
                    <a:srgbClr val="FFFFFF"/>
                  </a:solidFill>
                  <a:latin typeface="Arial"/>
                </a:rPr>
                <a:t>(e.g. YouTube &amp; Facebook)</a:t>
              </a:r>
            </a:p>
            <a:p>
              <a:pPr defTabSz="961706"/>
              <a:r>
                <a:rPr lang="en-GB" sz="882" dirty="0">
                  <a:solidFill>
                    <a:srgbClr val="FFFFFF"/>
                  </a:solidFill>
                  <a:latin typeface="Arial"/>
                </a:rPr>
                <a:t>5%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022626B5-4EC4-49ED-9AF6-9AD1F061A451}"/>
                </a:ext>
              </a:extLst>
            </p:cNvPr>
            <p:cNvSpPr/>
            <p:nvPr/>
          </p:nvSpPr>
          <p:spPr>
            <a:xfrm>
              <a:off x="6827770" y="3414593"/>
              <a:ext cx="702555" cy="147481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1706"/>
              <a:endParaRPr lang="en-GB" sz="2095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ACB950F9-67E7-4250-B480-7E3188507DA9}"/>
                </a:ext>
              </a:extLst>
            </p:cNvPr>
            <p:cNvSpPr txBox="1"/>
            <p:nvPr/>
          </p:nvSpPr>
          <p:spPr>
            <a:xfrm>
              <a:off x="6776481" y="3416429"/>
              <a:ext cx="613744" cy="66868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rtlCol="0">
              <a:spAutoFit/>
            </a:bodyPr>
            <a:lstStyle/>
            <a:p>
              <a:pPr defTabSz="961706"/>
              <a:r>
                <a:rPr lang="en-GB" sz="1103" b="1" dirty="0">
                  <a:solidFill>
                    <a:srgbClr val="FFFFFF"/>
                  </a:solidFill>
                  <a:latin typeface="Arial"/>
                </a:rPr>
                <a:t>Any News-brand</a:t>
              </a:r>
            </a:p>
            <a:p>
              <a:pPr defTabSz="961706"/>
              <a:r>
                <a:rPr lang="en-GB" sz="882" dirty="0">
                  <a:solidFill>
                    <a:srgbClr val="FFFFFF"/>
                  </a:solidFill>
                  <a:latin typeface="Arial"/>
                </a:rPr>
                <a:t>2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3110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BE19C4-0390-4423-8EC0-4FB306E9D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16-34 adults: their av world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C4E338-C54B-4CD7-9F75-2629370BFA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84290" y="7207304"/>
            <a:ext cx="6066415" cy="246221"/>
          </a:xfrm>
        </p:spPr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1. IPA Touchpoints 2018 &amp; 2017. </a:t>
            </a:r>
          </a:p>
          <a:p>
            <a:r>
              <a:rPr lang="en-GB" dirty="0"/>
              <a:t>2. IPA Touchpoints 2018 &amp; 2017. Weekly Mon-Sun reach of non-BBC TV – live or recorded on any device. 3. TGI Q2 2019 &amp; 2018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47DE4-245F-4A32-B1E0-21A6488237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65442"/>
            <a:ext cx="8249532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Predominantly light TV viewers who are using subscription services more frequently to create their own content viewing schedules and therefore becoming harder to reach &amp; engage.</a:t>
            </a: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  <p:sp>
        <p:nvSpPr>
          <p:cNvPr id="8" name="Freeform 451">
            <a:extLst>
              <a:ext uri="{FF2B5EF4-FFF2-40B4-BE49-F238E27FC236}">
                <a16:creationId xmlns:a16="http://schemas.microsoft.com/office/drawing/2014/main" id="{8F68FC79-E255-466A-809D-6B79B4D03F49}"/>
              </a:ext>
            </a:extLst>
          </p:cNvPr>
          <p:cNvSpPr>
            <a:spLocks noEditPoints="1"/>
          </p:cNvSpPr>
          <p:nvPr/>
        </p:nvSpPr>
        <p:spPr bwMode="auto">
          <a:xfrm>
            <a:off x="5641475" y="1620631"/>
            <a:ext cx="2160000" cy="21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9C0CCD9-0A31-4BEA-BF72-A47069344870}"/>
              </a:ext>
            </a:extLst>
          </p:cNvPr>
          <p:cNvSpPr txBox="1">
            <a:spLocks/>
          </p:cNvSpPr>
          <p:nvPr/>
        </p:nvSpPr>
        <p:spPr>
          <a:xfrm>
            <a:off x="1491926" y="4138867"/>
            <a:ext cx="2744850" cy="1781686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2800" dirty="0">
                <a:solidFill>
                  <a:schemeClr val="bg2"/>
                </a:solidFill>
                <a:latin typeface="Arial"/>
              </a:rPr>
              <a:t>67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AC16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of 16-34s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re light commercial TV viewers</a:t>
            </a:r>
            <a:r>
              <a:rPr kumimoji="0" lang="en-GB" sz="1200" b="1" i="0" u="none" strike="noStrike" kern="1200" cap="none" spc="0" normalizeH="0" baseline="3000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11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</a:t>
            </a:r>
            <a:r>
              <a:rPr lang="en-GB" sz="1600" dirty="0">
                <a:solidFill>
                  <a:srgbClr val="8A8A8D"/>
                </a:solidFill>
                <a:latin typeface="Arial"/>
              </a:rPr>
              <a:t>more likely than the average UK adult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41C3214-2C06-4F17-AE4D-3852997F7E83}"/>
              </a:ext>
            </a:extLst>
          </p:cNvPr>
          <p:cNvSpPr txBox="1">
            <a:spLocks/>
          </p:cNvSpPr>
          <p:nvPr/>
        </p:nvSpPr>
        <p:spPr>
          <a:xfrm>
            <a:off x="5262399" y="4138867"/>
            <a:ext cx="2918151" cy="1781686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  <a:r>
              <a:rPr lang="en-GB" sz="2800" dirty="0">
                <a:solidFill>
                  <a:schemeClr val="bg2"/>
                </a:solidFill>
                <a:latin typeface="Arial"/>
              </a:rPr>
              <a:t>9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AC16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81%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atch commercial TV at least once a week</a:t>
            </a:r>
            <a:r>
              <a:rPr kumimoji="0" lang="en-GB" sz="1200" b="1" i="0" u="none" strike="noStrike" kern="1200" cap="none" spc="0" normalizeH="0" baseline="3000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9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decrease over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last 12 month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A3C3C44-FBF9-41A2-8616-57DB481456CB}"/>
              </a:ext>
            </a:extLst>
          </p:cNvPr>
          <p:cNvSpPr txBox="1">
            <a:spLocks/>
          </p:cNvSpPr>
          <p:nvPr/>
        </p:nvSpPr>
        <p:spPr>
          <a:xfrm>
            <a:off x="9173975" y="4138867"/>
            <a:ext cx="2807554" cy="1781687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23%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AC16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5% have used Netflix in the last 4 weeks</a:t>
            </a:r>
            <a:r>
              <a:rPr kumimoji="0" lang="en-GB" sz="1200" b="1" i="0" u="none" strike="noStrike" kern="1200" cap="none" spc="0" normalizeH="0" baseline="3000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% increase over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last 12 months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BA0F3141-C122-4682-92AE-10144677C92C}"/>
              </a:ext>
            </a:extLst>
          </p:cNvPr>
          <p:cNvSpPr>
            <a:spLocks noEditPoints="1"/>
          </p:cNvSpPr>
          <p:nvPr/>
        </p:nvSpPr>
        <p:spPr bwMode="auto">
          <a:xfrm>
            <a:off x="9497752" y="1620631"/>
            <a:ext cx="2160000" cy="216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B495144-F17B-4A73-9393-F15773AD38B4}"/>
              </a:ext>
            </a:extLst>
          </p:cNvPr>
          <p:cNvGrpSpPr/>
          <p:nvPr/>
        </p:nvGrpSpPr>
        <p:grpSpPr>
          <a:xfrm>
            <a:off x="1784351" y="1620631"/>
            <a:ext cx="2160000" cy="2160000"/>
            <a:chOff x="552450" y="3895725"/>
            <a:chExt cx="2806699" cy="2806700"/>
          </a:xfrm>
          <a:solidFill>
            <a:schemeClr val="bg2"/>
          </a:solidFill>
        </p:grpSpPr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BCA0F993-1FE5-4AF0-A2FE-E44456B79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B352D52A-F7F4-4F25-A6A7-1D19CD8081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AA0AA43F-B775-4C7E-86D5-F23DF1C5C9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3748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197126-F4D6-4ED0-B9C0-441C241D0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eaming FUELs their passion for film  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BCE49D-E1DB-4F00-9587-6DFE5B2AC2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968675" y="7191873"/>
            <a:ext cx="5281324" cy="246221"/>
          </a:xfrm>
        </p:spPr>
        <p:txBody>
          <a:bodyPr/>
          <a:lstStyle/>
          <a:p>
            <a:pPr lvl="0"/>
            <a:r>
              <a:rPr lang="en-GB" b="1" dirty="0"/>
              <a:t>Source</a:t>
            </a:r>
            <a:r>
              <a:rPr lang="en-GB" dirty="0"/>
              <a:t>: TGI Q2 2019. </a:t>
            </a:r>
          </a:p>
          <a:p>
            <a:pPr lvl="0"/>
            <a:r>
              <a:rPr lang="en-GB" dirty="0"/>
              <a:t>Target: 16-34 adults – use either Netflix, Amazon Prime or Now TV in the last 4 weeks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0EC8DC-A3A8-4F0A-9C28-E3F979D6A0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8666182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Cinema remains a great way of engaging with entertainment-loving young adults - 95% of 16-34 adults who used Netflix, Amazon Prime or Now TV in the last month are cinemagoers.</a:t>
            </a: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F72B244-0C47-4F5B-9417-40546E3269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4321744"/>
              </p:ext>
            </p:extLst>
          </p:nvPr>
        </p:nvGraphicFramePr>
        <p:xfrm>
          <a:off x="1005609" y="1551709"/>
          <a:ext cx="11249891" cy="491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DFC6850-31AA-47AB-8F4E-01E2691FDC4C}"/>
              </a:ext>
            </a:extLst>
          </p:cNvPr>
          <p:cNvCxnSpPr/>
          <p:nvPr/>
        </p:nvCxnSpPr>
        <p:spPr>
          <a:xfrm flipV="1">
            <a:off x="5990663" y="2362215"/>
            <a:ext cx="1625600" cy="341745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D3F3E3D-6587-4BB7-8650-314185B22FB5}"/>
              </a:ext>
            </a:extLst>
          </p:cNvPr>
          <p:cNvSpPr txBox="1"/>
          <p:nvPr/>
        </p:nvSpPr>
        <p:spPr>
          <a:xfrm>
            <a:off x="6278587" y="2085216"/>
            <a:ext cx="119750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+12% uplift</a:t>
            </a:r>
            <a:endParaRPr kumimoji="0" lang="en-US" sz="1200" b="1" i="0" u="none" strike="noStrike" kern="1200" cap="none" spc="0" normalizeH="0" baseline="0" noProof="0" dirty="0" err="1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72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85848A-7433-4F45-9297-54B1B5A89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inemagoing has increased and stayed consistent over the last decad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7F050A-930B-4747-ABA1-0989104F6F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TGI trend analysis Q2 2010 – Q2 2019. 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E7D8451-65B6-46D5-8BE1-9A147CB348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10162473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Amid drastic changes in media consumption in the last decade, cinemagoing has grown and reached a consistent peak of 9 in 10 16-34 adults visiting the cinema every year</a:t>
            </a:r>
            <a:endParaRPr lang="en-US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00A8636-0576-4212-AFBB-4B1AD3E2C03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9053870"/>
              </p:ext>
            </p:extLst>
          </p:nvPr>
        </p:nvGraphicFramePr>
        <p:xfrm>
          <a:off x="653185" y="1283856"/>
          <a:ext cx="12136581" cy="5292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9" name="Picture 30" descr="Image result for instagram logo transparent">
            <a:extLst>
              <a:ext uri="{FF2B5EF4-FFF2-40B4-BE49-F238E27FC236}">
                <a16:creationId xmlns:a16="http://schemas.microsoft.com/office/drawing/2014/main" id="{AFEB9ACF-E905-4259-83B9-E82528F5B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6352" y="2082344"/>
            <a:ext cx="281614" cy="281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5" descr="Image result for netflix LOGO">
            <a:extLst>
              <a:ext uri="{FF2B5EF4-FFF2-40B4-BE49-F238E27FC236}">
                <a16:creationId xmlns:a16="http://schemas.microsoft.com/office/drawing/2014/main" id="{957B9E04-2785-4E04-934B-FC48BC7011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2208" y="2110747"/>
            <a:ext cx="355161" cy="266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C27CC82-3F84-42BF-B4BB-1E2324863EF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9396" y="2051724"/>
            <a:ext cx="586042" cy="18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62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>
            <a:extLst>
              <a:ext uri="{FF2B5EF4-FFF2-40B4-BE49-F238E27FC236}">
                <a16:creationId xmlns:a16="http://schemas.microsoft.com/office/drawing/2014/main" id="{DBF3F742-87DF-9F4A-93B7-CE7045CC7B49}"/>
              </a:ext>
            </a:extLst>
          </p:cNvPr>
          <p:cNvSpPr txBox="1">
            <a:spLocks/>
          </p:cNvSpPr>
          <p:nvPr/>
        </p:nvSpPr>
        <p:spPr>
          <a:xfrm>
            <a:off x="270693" y="184835"/>
            <a:ext cx="12413343" cy="409568"/>
          </a:xfrm>
          <a:prstGeom prst="rect">
            <a:avLst/>
          </a:prstGeom>
        </p:spPr>
        <p:txBody>
          <a:bodyPr lIns="0" tIns="0" rIns="0" bIns="0"/>
          <a:lstStyle>
            <a:lvl1pPr algn="l" defTabSz="961844" rtl="0" eaLnBrk="1" latinLnBrk="0" hangingPunct="1">
              <a:spcBef>
                <a:spcPct val="0"/>
              </a:spcBef>
              <a:buNone/>
              <a:defRPr sz="28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spc="100" dirty="0">
                <a:solidFill>
                  <a:srgbClr val="FFFFFF"/>
                </a:solidFill>
              </a:rPr>
              <a:t>CINEMA OCCUPIES A UNIQUE ROLE IN The lives of 16-34 year old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7D34E6-B481-3444-8432-20FDD78ECFEF}"/>
              </a:ext>
            </a:extLst>
          </p:cNvPr>
          <p:cNvSpPr/>
          <p:nvPr/>
        </p:nvSpPr>
        <p:spPr>
          <a:xfrm>
            <a:off x="5537674" y="7129534"/>
            <a:ext cx="776589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Q. Which of the following words and phrases do you associate with […]? </a:t>
            </a:r>
          </a:p>
          <a:p>
            <a:pPr marL="0" marR="0" lvl="0" indent="0" algn="r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Bold text indicates where a phrase was most frequently associated</a:t>
            </a:r>
          </a:p>
          <a:p>
            <a:pPr marL="0" marR="0" lvl="0" indent="0" algn="r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Base: 1000 ‘16-34s’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F810EBC2-84C9-7844-83E4-BAB983148F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2355323"/>
              </p:ext>
            </p:extLst>
          </p:nvPr>
        </p:nvGraphicFramePr>
        <p:xfrm>
          <a:off x="10667629" y="2607262"/>
          <a:ext cx="2088451" cy="2519804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469376">
                  <a:extLst>
                    <a:ext uri="{9D8B030D-6E8A-4147-A177-3AD203B41FA5}">
                      <a16:colId xmlns:a16="http://schemas.microsoft.com/office/drawing/2014/main" val="1017454763"/>
                    </a:ext>
                  </a:extLst>
                </a:gridCol>
                <a:gridCol w="619075">
                  <a:extLst>
                    <a:ext uri="{9D8B030D-6E8A-4147-A177-3AD203B41FA5}">
                      <a16:colId xmlns:a16="http://schemas.microsoft.com/office/drawing/2014/main" val="3861270620"/>
                    </a:ext>
                  </a:extLst>
                </a:gridCol>
              </a:tblGrid>
              <a:tr h="629951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b="1" i="1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INEMA</a:t>
                      </a:r>
                    </a:p>
                  </a:txBody>
                  <a:tcPr marL="75613" marR="75613" marT="0" marB="0" anchor="ctr"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61403"/>
                  </a:ext>
                </a:extLst>
              </a:tr>
              <a:tr h="629951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hared experience</a:t>
                      </a:r>
                    </a:p>
                  </a:txBody>
                  <a:tcPr marL="75613" marR="75613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065321"/>
                  </a:ext>
                </a:extLst>
              </a:tr>
              <a:tr h="629951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High attention</a:t>
                      </a:r>
                    </a:p>
                  </a:txBody>
                  <a:tcPr marL="75613" marR="75613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4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4406867"/>
                  </a:ext>
                </a:extLst>
              </a:tr>
              <a:tr h="629951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Quality content</a:t>
                      </a:r>
                    </a:p>
                  </a:txBody>
                  <a:tcPr marL="75613" marR="75613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1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60510059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D8E77228-CB40-E140-81F9-4495E54842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9215596"/>
              </p:ext>
            </p:extLst>
          </p:nvPr>
        </p:nvGraphicFramePr>
        <p:xfrm>
          <a:off x="664717" y="2607262"/>
          <a:ext cx="2088451" cy="2512172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469376">
                  <a:extLst>
                    <a:ext uri="{9D8B030D-6E8A-4147-A177-3AD203B41FA5}">
                      <a16:colId xmlns:a16="http://schemas.microsoft.com/office/drawing/2014/main" val="1017454763"/>
                    </a:ext>
                  </a:extLst>
                </a:gridCol>
                <a:gridCol w="619075">
                  <a:extLst>
                    <a:ext uri="{9D8B030D-6E8A-4147-A177-3AD203B41FA5}">
                      <a16:colId xmlns:a16="http://schemas.microsoft.com/office/drawing/2014/main" val="3861270620"/>
                    </a:ext>
                  </a:extLst>
                </a:gridCol>
              </a:tblGrid>
              <a:tr h="628043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b="1" i="1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LIVE TV</a:t>
                      </a:r>
                    </a:p>
                  </a:txBody>
                  <a:tcPr marL="75613" marR="7561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61403"/>
                  </a:ext>
                </a:extLst>
              </a:tr>
              <a:tr h="62804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0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Fill time</a:t>
                      </a:r>
                    </a:p>
                  </a:txBody>
                  <a:tcPr marL="75613" marR="75613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0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0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15065321"/>
                  </a:ext>
                </a:extLst>
              </a:tr>
              <a:tr h="62804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Background viewing</a:t>
                      </a:r>
                    </a:p>
                  </a:txBody>
                  <a:tcPr marL="75613" marR="75613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6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4406867"/>
                  </a:ext>
                </a:extLst>
              </a:tr>
              <a:tr h="62804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omforting</a:t>
                      </a:r>
                    </a:p>
                  </a:txBody>
                  <a:tcPr marL="75613" marR="75613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8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0510059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29D076F7-F2C4-D349-9766-3436F9E275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7858372"/>
              </p:ext>
            </p:extLst>
          </p:nvPr>
        </p:nvGraphicFramePr>
        <p:xfrm>
          <a:off x="3165445" y="2607262"/>
          <a:ext cx="2088451" cy="2512172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469376">
                  <a:extLst>
                    <a:ext uri="{9D8B030D-6E8A-4147-A177-3AD203B41FA5}">
                      <a16:colId xmlns:a16="http://schemas.microsoft.com/office/drawing/2014/main" val="1017454763"/>
                    </a:ext>
                  </a:extLst>
                </a:gridCol>
                <a:gridCol w="619075">
                  <a:extLst>
                    <a:ext uri="{9D8B030D-6E8A-4147-A177-3AD203B41FA5}">
                      <a16:colId xmlns:a16="http://schemas.microsoft.com/office/drawing/2014/main" val="3861270620"/>
                    </a:ext>
                  </a:extLst>
                </a:gridCol>
              </a:tblGrid>
              <a:tr h="628043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b="1" i="1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VOD</a:t>
                      </a:r>
                    </a:p>
                  </a:txBody>
                  <a:tcPr marL="75613" marR="75613" marT="0" marB="0" anchor="ctr"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61403"/>
                  </a:ext>
                </a:extLst>
              </a:tr>
              <a:tr h="62804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Binge viewing</a:t>
                      </a:r>
                    </a:p>
                  </a:txBody>
                  <a:tcPr marL="75613" marR="75613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7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065321"/>
                  </a:ext>
                </a:extLst>
              </a:tr>
              <a:tr h="62804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0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Fill time</a:t>
                      </a:r>
                    </a:p>
                  </a:txBody>
                  <a:tcPr marL="75613" marR="75613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0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5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4406867"/>
                  </a:ext>
                </a:extLst>
              </a:tr>
              <a:tr h="62804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0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Quality content</a:t>
                      </a:r>
                    </a:p>
                  </a:txBody>
                  <a:tcPr marL="75613" marR="75613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0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9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60510059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0C7EA3D7-E3AD-564D-8951-B8A48A91CC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7627513"/>
              </p:ext>
            </p:extLst>
          </p:nvPr>
        </p:nvGraphicFramePr>
        <p:xfrm>
          <a:off x="5666173" y="2607262"/>
          <a:ext cx="2088451" cy="2512172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469376">
                  <a:extLst>
                    <a:ext uri="{9D8B030D-6E8A-4147-A177-3AD203B41FA5}">
                      <a16:colId xmlns:a16="http://schemas.microsoft.com/office/drawing/2014/main" val="1017454763"/>
                    </a:ext>
                  </a:extLst>
                </a:gridCol>
                <a:gridCol w="619075">
                  <a:extLst>
                    <a:ext uri="{9D8B030D-6E8A-4147-A177-3AD203B41FA5}">
                      <a16:colId xmlns:a16="http://schemas.microsoft.com/office/drawing/2014/main" val="3861270620"/>
                    </a:ext>
                  </a:extLst>
                </a:gridCol>
              </a:tblGrid>
              <a:tr h="628043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b="1" i="1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YOUTUBE</a:t>
                      </a:r>
                    </a:p>
                  </a:txBody>
                  <a:tcPr marL="75613" marR="75613" marT="0" marB="0" anchor="ctr"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61403"/>
                  </a:ext>
                </a:extLst>
              </a:tr>
              <a:tr h="62804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Fill time</a:t>
                      </a:r>
                    </a:p>
                  </a:txBody>
                  <a:tcPr marL="75613" marR="75613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3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065321"/>
                  </a:ext>
                </a:extLst>
              </a:tr>
              <a:tr h="62804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Helps me escape</a:t>
                      </a:r>
                    </a:p>
                  </a:txBody>
                  <a:tcPr marL="75613" marR="75613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8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4406867"/>
                  </a:ext>
                </a:extLst>
              </a:tr>
              <a:tr h="62804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0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Binge viewing</a:t>
                      </a:r>
                    </a:p>
                  </a:txBody>
                  <a:tcPr marL="75613" marR="75613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0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7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60510059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FD704465-CC8B-BE44-B96C-B2D0B031F6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50112"/>
              </p:ext>
            </p:extLst>
          </p:nvPr>
        </p:nvGraphicFramePr>
        <p:xfrm>
          <a:off x="8166901" y="2607262"/>
          <a:ext cx="2088451" cy="2512172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469376">
                  <a:extLst>
                    <a:ext uri="{9D8B030D-6E8A-4147-A177-3AD203B41FA5}">
                      <a16:colId xmlns:a16="http://schemas.microsoft.com/office/drawing/2014/main" val="1017454763"/>
                    </a:ext>
                  </a:extLst>
                </a:gridCol>
                <a:gridCol w="619075">
                  <a:extLst>
                    <a:ext uri="{9D8B030D-6E8A-4147-A177-3AD203B41FA5}">
                      <a16:colId xmlns:a16="http://schemas.microsoft.com/office/drawing/2014/main" val="3861270620"/>
                    </a:ext>
                  </a:extLst>
                </a:gridCol>
              </a:tblGrid>
              <a:tr h="628043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b="1" i="1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OCIAL VIDEO</a:t>
                      </a:r>
                    </a:p>
                  </a:txBody>
                  <a:tcPr marL="75613" marR="75613" marT="0" marB="0" anchor="ctr"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61403"/>
                  </a:ext>
                </a:extLst>
              </a:tr>
              <a:tr h="62804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0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Fill time</a:t>
                      </a:r>
                    </a:p>
                  </a:txBody>
                  <a:tcPr marL="75613" marR="75613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0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8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065321"/>
                  </a:ext>
                </a:extLst>
              </a:tr>
              <a:tr h="62804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Low Attention</a:t>
                      </a:r>
                    </a:p>
                  </a:txBody>
                  <a:tcPr marL="75613" marR="75613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7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4406867"/>
                  </a:ext>
                </a:extLst>
              </a:tr>
              <a:tr h="62804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pontaneous</a:t>
                      </a:r>
                    </a:p>
                  </a:txBody>
                  <a:tcPr marL="75613" marR="75613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0%</a:t>
                      </a:r>
                    </a:p>
                  </a:txBody>
                  <a:tcPr marL="75613" marR="7561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60510059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49DA090E-0935-7D4B-81E7-83C801547BFC}"/>
              </a:ext>
            </a:extLst>
          </p:cNvPr>
          <p:cNvSpPr txBox="1"/>
          <p:nvPr/>
        </p:nvSpPr>
        <p:spPr>
          <a:xfrm>
            <a:off x="374562" y="1616681"/>
            <a:ext cx="554539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op 3 associations by platfor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C66CD46-EEEC-F144-A1BF-4CBCA0482F84}"/>
              </a:ext>
            </a:extLst>
          </p:cNvPr>
          <p:cNvSpPr txBox="1"/>
          <p:nvPr/>
        </p:nvSpPr>
        <p:spPr>
          <a:xfrm>
            <a:off x="270694" y="622699"/>
            <a:ext cx="1004748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rgbClr val="FFFFFF"/>
                </a:solidFill>
                <a:latin typeface="Arial"/>
              </a:rPr>
              <a:t>Cinema continues to offer something unique for 16-34s, associated with being a shared experience which demands high attention and consistently provides content of the highest quality.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73495A3-7BC6-544F-AF18-5375A08042EC}"/>
              </a:ext>
            </a:extLst>
          </p:cNvPr>
          <p:cNvCxnSpPr/>
          <p:nvPr/>
        </p:nvCxnSpPr>
        <p:spPr>
          <a:xfrm>
            <a:off x="1284513" y="7145020"/>
            <a:ext cx="0" cy="36933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B363B877-3650-EC4B-AB7A-7CF3E79BC76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075" y="7185845"/>
            <a:ext cx="1330321" cy="287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507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90158EB1-28E8-BD46-8131-A1BBF0A5F2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26730" y="1213770"/>
            <a:ext cx="10989490" cy="413319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sz="8500" dirty="0">
                <a:solidFill>
                  <a:srgbClr val="FFFFFF"/>
                </a:solidFill>
              </a:rPr>
              <a:t>A shared experience</a:t>
            </a:r>
          </a:p>
          <a:p>
            <a:pPr>
              <a:lnSpc>
                <a:spcPct val="100000"/>
              </a:lnSpc>
            </a:pPr>
            <a:r>
              <a:rPr lang="en-GB" sz="4400" dirty="0">
                <a:solidFill>
                  <a:srgbClr val="FFFFFF"/>
                </a:solidFill>
              </a:rPr>
              <a:t>16-34s are Over 20% more likely </a:t>
            </a:r>
          </a:p>
          <a:p>
            <a:pPr>
              <a:lnSpc>
                <a:spcPct val="100000"/>
              </a:lnSpc>
            </a:pPr>
            <a:r>
              <a:rPr lang="en-GB" sz="4400" dirty="0">
                <a:solidFill>
                  <a:srgbClr val="FFFFFF"/>
                </a:solidFill>
              </a:rPr>
              <a:t>to visit the cinema in a group of 3+</a:t>
            </a:r>
          </a:p>
        </p:txBody>
      </p:sp>
    </p:spTree>
    <p:extLst>
      <p:ext uri="{BB962C8B-B14F-4D97-AF65-F5344CB8AC3E}">
        <p14:creationId xmlns:p14="http://schemas.microsoft.com/office/powerpoint/2010/main" val="1684658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7276AA-FD40-4D36-9DFB-F40CA5647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16-34 adults love the hype and the conversation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3A10B6-5E1B-4620-9EE9-9020D15731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970673" y="7155283"/>
            <a:ext cx="5335771" cy="246221"/>
          </a:xfrm>
        </p:spPr>
        <p:txBody>
          <a:bodyPr/>
          <a:lstStyle/>
          <a:p>
            <a:r>
              <a:rPr lang="en-US" dirty="0"/>
              <a:t>Source: FAME 2018. Index vs. average UK cinemagoer. 1. Mission 16-34: Launch, Land, Impact.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DB0EBB5-E508-40BE-973E-0C45317816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They want to see the latest films first, ensuring they don’t miss the out on what their friends are talking about.</a:t>
            </a:r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CB769C2-9276-49EB-ADC9-8E943CA640E6}"/>
              </a:ext>
            </a:extLst>
          </p:cNvPr>
          <p:cNvSpPr txBox="1">
            <a:spLocks/>
          </p:cNvSpPr>
          <p:nvPr/>
        </p:nvSpPr>
        <p:spPr>
          <a:xfrm>
            <a:off x="2252241" y="5589443"/>
            <a:ext cx="3571200" cy="70532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I love the hype that surrounds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g film releases”</a:t>
            </a:r>
          </a:p>
          <a:p>
            <a:pPr marL="0" marR="0" lvl="0" indent="0" algn="ctr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dex: 127)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2C50056-19DE-4976-B630-37B199D4B531}"/>
              </a:ext>
            </a:extLst>
          </p:cNvPr>
          <p:cNvSpPr txBox="1">
            <a:spLocks/>
          </p:cNvSpPr>
          <p:nvPr/>
        </p:nvSpPr>
        <p:spPr>
          <a:xfrm>
            <a:off x="7562026" y="5589443"/>
            <a:ext cx="3690072" cy="70532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I don’t like missing out on things that other people are talking about”</a:t>
            </a:r>
            <a:r>
              <a:rPr kumimoji="0" lang="en-GB" sz="1000" b="1" i="0" u="none" strike="noStrike" kern="1200" cap="none" spc="0" normalizeH="0" baseline="5000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  <a:p>
            <a:pPr marL="0" marR="0" lvl="0" indent="0" algn="ctr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419544D-E0C1-471D-9259-29ABBB9699C1}"/>
              </a:ext>
            </a:extLst>
          </p:cNvPr>
          <p:cNvSpPr txBox="1">
            <a:spLocks/>
          </p:cNvSpPr>
          <p:nvPr/>
        </p:nvSpPr>
        <p:spPr bwMode="gray">
          <a:xfrm>
            <a:off x="3026971" y="2896824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5800" b="1" i="0" u="none" strike="noStrike" kern="1200" cap="all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Impact" charset="0"/>
              </a:rPr>
              <a:t>55%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6C93B86-CC97-4164-B5EC-04BABBEAFAB8}"/>
              </a:ext>
            </a:extLst>
          </p:cNvPr>
          <p:cNvGrpSpPr/>
          <p:nvPr/>
        </p:nvGrpSpPr>
        <p:grpSpPr>
          <a:xfrm>
            <a:off x="2192806" y="1501972"/>
            <a:ext cx="3693979" cy="3693979"/>
            <a:chOff x="5372210" y="1607899"/>
            <a:chExt cx="3693979" cy="3693979"/>
          </a:xfrm>
        </p:grpSpPr>
        <p:sp>
          <p:nvSpPr>
            <p:cNvPr id="16" name="Block Arc 15">
              <a:extLst>
                <a:ext uri="{FF2B5EF4-FFF2-40B4-BE49-F238E27FC236}">
                  <a16:creationId xmlns:a16="http://schemas.microsoft.com/office/drawing/2014/main" id="{C1F69D20-7E08-401A-A6E7-90A45E74FE18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1953944"/>
                <a:gd name="adj3" fmla="val 26962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Block Arc 16">
              <a:extLst>
                <a:ext uri="{FF2B5EF4-FFF2-40B4-BE49-F238E27FC236}">
                  <a16:creationId xmlns:a16="http://schemas.microsoft.com/office/drawing/2014/main" id="{1E58C1B8-DAB3-4E94-A626-D4531E9A76F7}"/>
                </a:ext>
              </a:extLst>
            </p:cNvPr>
            <p:cNvSpPr/>
            <p:nvPr/>
          </p:nvSpPr>
          <p:spPr>
            <a:xfrm rot="20348427" flipV="1">
              <a:off x="5372210" y="1607899"/>
              <a:ext cx="3690071" cy="3690071"/>
            </a:xfrm>
            <a:prstGeom prst="blockArc">
              <a:avLst>
                <a:gd name="adj1" fmla="val 13700434"/>
                <a:gd name="adj2" fmla="val 4156081"/>
                <a:gd name="adj3" fmla="val 26923"/>
              </a:avLst>
            </a:prstGeom>
            <a:solidFill>
              <a:schemeClr val="bg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953B6A-C33D-45AA-9A40-4EC3FE73EA8B}"/>
              </a:ext>
            </a:extLst>
          </p:cNvPr>
          <p:cNvSpPr txBox="1">
            <a:spLocks/>
          </p:cNvSpPr>
          <p:nvPr/>
        </p:nvSpPr>
        <p:spPr bwMode="gray">
          <a:xfrm>
            <a:off x="8390329" y="2896824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dirty="0">
                <a:solidFill>
                  <a:schemeClr val="bg2"/>
                </a:solidFill>
              </a:rPr>
              <a:t>51</a:t>
            </a:r>
            <a:r>
              <a:rPr kumimoji="0" lang="en-GB" sz="5800" b="1" i="0" u="none" strike="noStrike" kern="1200" cap="all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Impact" charset="0"/>
              </a:rPr>
              <a:t>%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976B544-65A4-4A74-80DD-78DFE9595829}"/>
              </a:ext>
            </a:extLst>
          </p:cNvPr>
          <p:cNvGrpSpPr/>
          <p:nvPr/>
        </p:nvGrpSpPr>
        <p:grpSpPr>
          <a:xfrm>
            <a:off x="7558119" y="1498065"/>
            <a:ext cx="3693979" cy="3693979"/>
            <a:chOff x="5372210" y="1607899"/>
            <a:chExt cx="3693979" cy="3693979"/>
          </a:xfrm>
        </p:grpSpPr>
        <p:sp>
          <p:nvSpPr>
            <p:cNvPr id="20" name="Block Arc 19">
              <a:extLst>
                <a:ext uri="{FF2B5EF4-FFF2-40B4-BE49-F238E27FC236}">
                  <a16:creationId xmlns:a16="http://schemas.microsoft.com/office/drawing/2014/main" id="{38502D4F-F01E-4E51-867B-82F4EB0347B4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1953944"/>
                <a:gd name="adj3" fmla="val 26962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Block Arc 20">
              <a:extLst>
                <a:ext uri="{FF2B5EF4-FFF2-40B4-BE49-F238E27FC236}">
                  <a16:creationId xmlns:a16="http://schemas.microsoft.com/office/drawing/2014/main" id="{DEED8D4E-A04D-4379-A853-DB55D620B136}"/>
                </a:ext>
              </a:extLst>
            </p:cNvPr>
            <p:cNvSpPr/>
            <p:nvPr/>
          </p:nvSpPr>
          <p:spPr>
            <a:xfrm rot="20348427" flipV="1">
              <a:off x="5372210" y="1607899"/>
              <a:ext cx="3690071" cy="3690071"/>
            </a:xfrm>
            <a:prstGeom prst="blockArc">
              <a:avLst>
                <a:gd name="adj1" fmla="val 14776154"/>
                <a:gd name="adj2" fmla="val 4156081"/>
                <a:gd name="adj3" fmla="val 26923"/>
              </a:avLst>
            </a:prstGeom>
            <a:solidFill>
              <a:schemeClr val="bg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205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1C6AD2-723D-204F-A192-D6EA26E577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71165" y="7190847"/>
            <a:ext cx="5027324" cy="23865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Source: FAME 2018.  How long after the release date did you watch your last film at the cinema? </a:t>
            </a:r>
          </a:p>
          <a:p>
            <a:pPr>
              <a:lnSpc>
                <a:spcPct val="100000"/>
              </a:lnSpc>
            </a:pPr>
            <a:r>
              <a:rPr lang="en-GB" dirty="0"/>
              <a:t>Index vs. average UK cinemagoer.  </a:t>
            </a:r>
            <a:endParaRPr lang="en-US" dirty="0"/>
          </a:p>
          <a:p>
            <a:endParaRPr lang="en-US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148BE246-9862-0E4E-8E3C-C35DAD84AE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79794" y="1578328"/>
            <a:ext cx="9483362" cy="4133199"/>
          </a:xfrm>
        </p:spPr>
        <p:txBody>
          <a:bodyPr/>
          <a:lstStyle/>
          <a:p>
            <a:r>
              <a:rPr lang="en-GB" sz="7200" dirty="0">
                <a:solidFill>
                  <a:srgbClr val="FFFFFF"/>
                </a:solidFill>
              </a:rPr>
              <a:t>54% watch a new film within its opening week</a:t>
            </a:r>
            <a:endParaRPr lang="en-GB" sz="3600" dirty="0">
              <a:solidFill>
                <a:srgbClr val="FFFFFF"/>
              </a:solidFill>
            </a:endParaRPr>
          </a:p>
          <a:p>
            <a:r>
              <a:rPr lang="en-GB" sz="3600" dirty="0">
                <a:solidFill>
                  <a:srgbClr val="FFFFFF"/>
                </a:solidFill>
              </a:rPr>
              <a:t>INDEX: 136</a:t>
            </a:r>
          </a:p>
        </p:txBody>
      </p:sp>
    </p:spTree>
    <p:extLst>
      <p:ext uri="{BB962C8B-B14F-4D97-AF65-F5344CB8AC3E}">
        <p14:creationId xmlns:p14="http://schemas.microsoft.com/office/powerpoint/2010/main" val="2555169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9B81A428-C4B1-F642-88AE-8ED774BA0FC3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12.xml><?xml version="1.0" encoding="utf-8"?>
<a:theme xmlns:a="http://schemas.openxmlformats.org/drawingml/2006/main" name="1_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3.xml><?xml version="1.0" encoding="utf-8"?>
<a:theme xmlns:a="http://schemas.openxmlformats.org/drawingml/2006/main" name="1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14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15.xml><?xml version="1.0" encoding="utf-8"?>
<a:theme xmlns:a="http://schemas.openxmlformats.org/drawingml/2006/main" name="1_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16.xml><?xml version="1.0" encoding="utf-8"?>
<a:theme xmlns:a="http://schemas.openxmlformats.org/drawingml/2006/main" name="1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17.xml><?xml version="1.0" encoding="utf-8"?>
<a:theme xmlns:a="http://schemas.openxmlformats.org/drawingml/2006/main" name="3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18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6BC1A207-515F-42D6-BF08-B5CF753DA50C}"/>
    </a:ext>
  </a:extLst>
</a:theme>
</file>

<file path=ppt/theme/theme19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20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7EC78B1C-5D69-4949-9B2C-D1A06225736E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1EAB93-89FC-7C45-A263-CCB4337C1C1A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B2B0FD12-3727-E94A-BBF9-50CA084E2676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535D1B-DEC1-D540-9F33-D202B6B25608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638900D9-EBF9-0D4A-AE83-BD423BA4FCE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51</Words>
  <Application>Microsoft Office PowerPoint</Application>
  <PresentationFormat>Custom</PresentationFormat>
  <Paragraphs>258</Paragraphs>
  <Slides>1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42" baseType="lpstr">
      <vt:lpstr>ＭＳ Ｐゴシック</vt:lpstr>
      <vt:lpstr>Arial</vt:lpstr>
      <vt:lpstr>Calibri</vt:lpstr>
      <vt:lpstr>Century Gothic</vt:lpstr>
      <vt:lpstr>Helvetica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1_Divider Slides</vt:lpstr>
      <vt:lpstr>1_Copy Slides</vt:lpstr>
      <vt:lpstr>2_Copy Slides</vt:lpstr>
      <vt:lpstr>1_Statement Slides</vt:lpstr>
      <vt:lpstr>1_Image Slides</vt:lpstr>
      <vt:lpstr>3_Copy Slides</vt:lpstr>
      <vt:lpstr>1_Blank with title</vt:lpstr>
      <vt:lpstr>think-cell Slide</vt:lpstr>
      <vt:lpstr>Unmissable content  for 16-34s</vt:lpstr>
      <vt:lpstr>16-34s HAVE A DIVERSE MEDIA DAY</vt:lpstr>
      <vt:lpstr>16-34 adults: their av world</vt:lpstr>
      <vt:lpstr>Streaming FUELs their passion for film  </vt:lpstr>
      <vt:lpstr>Cinemagoing has increased and stayed consistent over the last decade</vt:lpstr>
      <vt:lpstr>PowerPoint Presentation</vt:lpstr>
      <vt:lpstr>PowerPoint Presentation</vt:lpstr>
      <vt:lpstr>16-34 adults love the hype and the conversation</vt:lpstr>
      <vt:lpstr>PowerPoint Presentation</vt:lpstr>
      <vt:lpstr>A race to watch the latest blockbusters</vt:lpstr>
      <vt:lpstr>16-34 adults are early adopters</vt:lpstr>
      <vt:lpstr>They are receptive and attentive to cinema advertising</vt:lpstr>
      <vt:lpstr>Cinema ads HELP bring the viewer into a ‘bubble’</vt:lpstr>
      <vt:lpstr>Cinema delivers at both an ‘emotional’ and a ‘rational’ level for 16-34s</vt:lpstr>
      <vt:lpstr>Unmissable content = huge audiences = significant ratings</vt:lpstr>
      <vt:lpstr>engage them with unmissable content in 2020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7-11T16:03:33Z</dcterms:created>
  <dcterms:modified xsi:type="dcterms:W3CDTF">2020-01-28T16:16:10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